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ppt/tags/tag16.xml" ContentType="application/vnd.openxmlformats-officedocument.presentationml.tags+xml"/>
  <Override PartName="/ppt/notesSlides/notesSlide11.xml" ContentType="application/vnd.openxmlformats-officedocument.presentationml.notesSlide+xml"/>
  <Override PartName="/ppt/tags/tag17.xml" ContentType="application/vnd.openxmlformats-officedocument.presentationml.tags+xml"/>
  <Override PartName="/ppt/notesSlides/notesSlide12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22" r:id="rId2"/>
  </p:sldMasterIdLst>
  <p:notesMasterIdLst>
    <p:notesMasterId r:id="rId19"/>
  </p:notesMasterIdLst>
  <p:sldIdLst>
    <p:sldId id="256" r:id="rId3"/>
    <p:sldId id="265" r:id="rId4"/>
    <p:sldId id="261" r:id="rId5"/>
    <p:sldId id="271" r:id="rId6"/>
    <p:sldId id="257" r:id="rId7"/>
    <p:sldId id="267" r:id="rId8"/>
    <p:sldId id="266" r:id="rId9"/>
    <p:sldId id="262" r:id="rId10"/>
    <p:sldId id="273" r:id="rId11"/>
    <p:sldId id="269" r:id="rId12"/>
    <p:sldId id="272" r:id="rId13"/>
    <p:sldId id="276" r:id="rId14"/>
    <p:sldId id="277" r:id="rId15"/>
    <p:sldId id="275" r:id="rId16"/>
    <p:sldId id="278" r:id="rId17"/>
    <p:sldId id="279" r:id="rId18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FA72F9C-C4B4-4435-83F5-21109E33E2FC}">
          <p14:sldIdLst>
            <p14:sldId id="256"/>
            <p14:sldId id="265"/>
            <p14:sldId id="261"/>
            <p14:sldId id="271"/>
            <p14:sldId id="257"/>
            <p14:sldId id="267"/>
            <p14:sldId id="266"/>
            <p14:sldId id="262"/>
            <p14:sldId id="273"/>
            <p14:sldId id="269"/>
          </p14:sldIdLst>
        </p14:section>
        <p14:section name="Backup" id="{E2C407E5-77EC-450B-B93A-6322A6B0B6A7}">
          <p14:sldIdLst>
            <p14:sldId id="272"/>
            <p14:sldId id="276"/>
            <p14:sldId id="277"/>
            <p14:sldId id="275"/>
            <p14:sldId id="278"/>
            <p14:sldId id="27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0FDD09F-E05F-4365-9399-46141A920F50}" v="807" dt="2024-06-30T09:29:23.0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3566" autoAdjust="0"/>
  </p:normalViewPr>
  <p:slideViewPr>
    <p:cSldViewPr snapToGrid="0">
      <p:cViewPr varScale="1">
        <p:scale>
          <a:sx n="60" d="100"/>
          <a:sy n="60" d="100"/>
        </p:scale>
        <p:origin x="90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microsoft.com/office/2015/10/relationships/revisionInfo" Target="revisionInfo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utloff, Anastasia" userId="5839b687-c4a9-4bb1-ad64-fcac478334af" providerId="ADAL" clId="{30FDD09F-E05F-4365-9399-46141A920F50}"/>
    <pc:docChg chg="undo redo custSel addSld delSld modSld sldOrd modSection replTag">
      <pc:chgData name="Leutloff, Anastasia" userId="5839b687-c4a9-4bb1-ad64-fcac478334af" providerId="ADAL" clId="{30FDD09F-E05F-4365-9399-46141A920F50}" dt="2024-06-30T12:41:12.565" v="1889"/>
      <pc:docMkLst>
        <pc:docMk/>
      </pc:docMkLst>
      <pc:sldChg chg="addSp delSp modSp mod">
        <pc:chgData name="Leutloff, Anastasia" userId="5839b687-c4a9-4bb1-ad64-fcac478334af" providerId="ADAL" clId="{30FDD09F-E05F-4365-9399-46141A920F50}" dt="2024-06-29T19:55:16.198" v="501" actId="1440"/>
        <pc:sldMkLst>
          <pc:docMk/>
          <pc:sldMk cId="1102307880" sldId="257"/>
        </pc:sldMkLst>
        <pc:spChg chg="add del mod">
          <ac:chgData name="Leutloff, Anastasia" userId="5839b687-c4a9-4bb1-ad64-fcac478334af" providerId="ADAL" clId="{30FDD09F-E05F-4365-9399-46141A920F50}" dt="2024-06-29T19:27:39.279" v="138"/>
          <ac:spMkLst>
            <pc:docMk/>
            <pc:sldMk cId="1102307880" sldId="257"/>
            <ac:spMk id="3" creationId="{13B4ACC6-D875-B7CA-5486-3086FF508479}"/>
          </ac:spMkLst>
        </pc:spChg>
        <pc:spChg chg="add mod">
          <ac:chgData name="Leutloff, Anastasia" userId="5839b687-c4a9-4bb1-ad64-fcac478334af" providerId="ADAL" clId="{30FDD09F-E05F-4365-9399-46141A920F50}" dt="2024-06-29T19:51:30.267" v="437" actId="1035"/>
          <ac:spMkLst>
            <pc:docMk/>
            <pc:sldMk cId="1102307880" sldId="257"/>
            <ac:spMk id="8" creationId="{1D53E1BC-5890-BE5E-94A5-52280278B83C}"/>
          </ac:spMkLst>
        </pc:spChg>
        <pc:spChg chg="add mod">
          <ac:chgData name="Leutloff, Anastasia" userId="5839b687-c4a9-4bb1-ad64-fcac478334af" providerId="ADAL" clId="{30FDD09F-E05F-4365-9399-46141A920F50}" dt="2024-06-29T19:51:30.267" v="437" actId="1035"/>
          <ac:spMkLst>
            <pc:docMk/>
            <pc:sldMk cId="1102307880" sldId="257"/>
            <ac:spMk id="9" creationId="{DB4BAC8E-89FE-0C5F-281E-664B28A93819}"/>
          </ac:spMkLst>
        </pc:spChg>
        <pc:spChg chg="add mod">
          <ac:chgData name="Leutloff, Anastasia" userId="5839b687-c4a9-4bb1-ad64-fcac478334af" providerId="ADAL" clId="{30FDD09F-E05F-4365-9399-46141A920F50}" dt="2024-06-29T19:51:30.267" v="437" actId="1035"/>
          <ac:spMkLst>
            <pc:docMk/>
            <pc:sldMk cId="1102307880" sldId="257"/>
            <ac:spMk id="11" creationId="{77818279-74AF-B8B6-C34B-0D3EF42BAE3E}"/>
          </ac:spMkLst>
        </pc:spChg>
        <pc:spChg chg="add mod">
          <ac:chgData name="Leutloff, Anastasia" userId="5839b687-c4a9-4bb1-ad64-fcac478334af" providerId="ADAL" clId="{30FDD09F-E05F-4365-9399-46141A920F50}" dt="2024-06-29T19:51:30.267" v="437" actId="1035"/>
          <ac:spMkLst>
            <pc:docMk/>
            <pc:sldMk cId="1102307880" sldId="257"/>
            <ac:spMk id="12" creationId="{F413258B-1DCD-A960-1F50-A9AEC365627E}"/>
          </ac:spMkLst>
        </pc:spChg>
        <pc:graphicFrameChg chg="del mod modGraphic">
          <ac:chgData name="Leutloff, Anastasia" userId="5839b687-c4a9-4bb1-ad64-fcac478334af" providerId="ADAL" clId="{30FDD09F-E05F-4365-9399-46141A920F50}" dt="2024-06-29T19:37:01.447" v="190" actId="478"/>
          <ac:graphicFrameMkLst>
            <pc:docMk/>
            <pc:sldMk cId="1102307880" sldId="257"/>
            <ac:graphicFrameMk id="10" creationId="{AC14FBB8-29D6-12FF-5C7B-A4494CD0B865}"/>
          </ac:graphicFrameMkLst>
        </pc:graphicFrameChg>
        <pc:picChg chg="add mod">
          <ac:chgData name="Leutloff, Anastasia" userId="5839b687-c4a9-4bb1-ad64-fcac478334af" providerId="ADAL" clId="{30FDD09F-E05F-4365-9399-46141A920F50}" dt="2024-06-29T19:54:47.362" v="498" actId="1035"/>
          <ac:picMkLst>
            <pc:docMk/>
            <pc:sldMk cId="1102307880" sldId="257"/>
            <ac:picMk id="5" creationId="{4305BF4A-7C3E-5B58-4961-2438C670B11F}"/>
          </ac:picMkLst>
        </pc:picChg>
        <pc:picChg chg="del mod">
          <ac:chgData name="Leutloff, Anastasia" userId="5839b687-c4a9-4bb1-ad64-fcac478334af" providerId="ADAL" clId="{30FDD09F-E05F-4365-9399-46141A920F50}" dt="2024-06-29T19:27:36.990" v="137" actId="478"/>
          <ac:picMkLst>
            <pc:docMk/>
            <pc:sldMk cId="1102307880" sldId="257"/>
            <ac:picMk id="6" creationId="{CCB06ED9-8D74-9757-ED75-612419EA65CE}"/>
          </ac:picMkLst>
        </pc:picChg>
        <pc:picChg chg="add del mod">
          <ac:chgData name="Leutloff, Anastasia" userId="5839b687-c4a9-4bb1-ad64-fcac478334af" providerId="ADAL" clId="{30FDD09F-E05F-4365-9399-46141A920F50}" dt="2024-06-29T19:33:05.844" v="166" actId="478"/>
          <ac:picMkLst>
            <pc:docMk/>
            <pc:sldMk cId="1102307880" sldId="257"/>
            <ac:picMk id="2050" creationId="{59138BD3-69E9-7524-863D-6E7C183DD174}"/>
          </ac:picMkLst>
        </pc:picChg>
        <pc:picChg chg="add del mod">
          <ac:chgData name="Leutloff, Anastasia" userId="5839b687-c4a9-4bb1-ad64-fcac478334af" providerId="ADAL" clId="{30FDD09F-E05F-4365-9399-46141A920F50}" dt="2024-06-29T19:34:31.537" v="175" actId="478"/>
          <ac:picMkLst>
            <pc:docMk/>
            <pc:sldMk cId="1102307880" sldId="257"/>
            <ac:picMk id="2052" creationId="{FBE104D6-C6DA-1F79-5950-2C26C246F71A}"/>
          </ac:picMkLst>
        </pc:picChg>
        <pc:picChg chg="add mod">
          <ac:chgData name="Leutloff, Anastasia" userId="5839b687-c4a9-4bb1-ad64-fcac478334af" providerId="ADAL" clId="{30FDD09F-E05F-4365-9399-46141A920F50}" dt="2024-06-29T19:55:16.198" v="501" actId="1440"/>
          <ac:picMkLst>
            <pc:docMk/>
            <pc:sldMk cId="1102307880" sldId="257"/>
            <ac:picMk id="2054" creationId="{C67F88D9-1A08-F010-35EA-5F1205325DAA}"/>
          </ac:picMkLst>
        </pc:picChg>
        <pc:picChg chg="add mod">
          <ac:chgData name="Leutloff, Anastasia" userId="5839b687-c4a9-4bb1-ad64-fcac478334af" providerId="ADAL" clId="{30FDD09F-E05F-4365-9399-46141A920F50}" dt="2024-06-29T19:55:16.198" v="501" actId="1440"/>
          <ac:picMkLst>
            <pc:docMk/>
            <pc:sldMk cId="1102307880" sldId="257"/>
            <ac:picMk id="2056" creationId="{F3C28E4E-DF74-6159-C2B1-EDD0D6AF91B4}"/>
          </ac:picMkLst>
        </pc:picChg>
        <pc:picChg chg="add mod">
          <ac:chgData name="Leutloff, Anastasia" userId="5839b687-c4a9-4bb1-ad64-fcac478334af" providerId="ADAL" clId="{30FDD09F-E05F-4365-9399-46141A920F50}" dt="2024-06-29T19:55:16.198" v="501" actId="1440"/>
          <ac:picMkLst>
            <pc:docMk/>
            <pc:sldMk cId="1102307880" sldId="257"/>
            <ac:picMk id="2058" creationId="{F27F2423-9467-5213-B0A0-D2F98D38E31B}"/>
          </ac:picMkLst>
        </pc:picChg>
        <pc:picChg chg="add del">
          <ac:chgData name="Leutloff, Anastasia" userId="5839b687-c4a9-4bb1-ad64-fcac478334af" providerId="ADAL" clId="{30FDD09F-E05F-4365-9399-46141A920F50}" dt="2024-06-29T19:35:35.849" v="181" actId="478"/>
          <ac:picMkLst>
            <pc:docMk/>
            <pc:sldMk cId="1102307880" sldId="257"/>
            <ac:picMk id="2060" creationId="{74C2169D-137F-E763-5DD0-B5F07507A5D5}"/>
          </ac:picMkLst>
        </pc:picChg>
        <pc:picChg chg="add del">
          <ac:chgData name="Leutloff, Anastasia" userId="5839b687-c4a9-4bb1-ad64-fcac478334af" providerId="ADAL" clId="{30FDD09F-E05F-4365-9399-46141A920F50}" dt="2024-06-29T19:35:50.305" v="183" actId="478"/>
          <ac:picMkLst>
            <pc:docMk/>
            <pc:sldMk cId="1102307880" sldId="257"/>
            <ac:picMk id="2062" creationId="{08D88F7D-79FA-5606-CD36-2BD4BDF71F9C}"/>
          </ac:picMkLst>
        </pc:picChg>
        <pc:picChg chg="add mod">
          <ac:chgData name="Leutloff, Anastasia" userId="5839b687-c4a9-4bb1-ad64-fcac478334af" providerId="ADAL" clId="{30FDD09F-E05F-4365-9399-46141A920F50}" dt="2024-06-29T19:55:16.198" v="501" actId="1440"/>
          <ac:picMkLst>
            <pc:docMk/>
            <pc:sldMk cId="1102307880" sldId="257"/>
            <ac:picMk id="2064" creationId="{576A10C4-2791-15EF-5500-9F4DD9A3C75F}"/>
          </ac:picMkLst>
        </pc:picChg>
      </pc:sldChg>
      <pc:sldChg chg="addSp delSp modSp mod delAnim modAnim">
        <pc:chgData name="Leutloff, Anastasia" userId="5839b687-c4a9-4bb1-ad64-fcac478334af" providerId="ADAL" clId="{30FDD09F-E05F-4365-9399-46141A920F50}" dt="2024-06-29T20:30:02.129" v="1259"/>
        <pc:sldMkLst>
          <pc:docMk/>
          <pc:sldMk cId="3512641577" sldId="261"/>
        </pc:sldMkLst>
        <pc:spChg chg="add mod">
          <ac:chgData name="Leutloff, Anastasia" userId="5839b687-c4a9-4bb1-ad64-fcac478334af" providerId="ADAL" clId="{30FDD09F-E05F-4365-9399-46141A920F50}" dt="2024-06-29T20:29:28.650" v="1257" actId="1036"/>
          <ac:spMkLst>
            <pc:docMk/>
            <pc:sldMk cId="3512641577" sldId="261"/>
            <ac:spMk id="2" creationId="{09334EA6-BDDF-138C-A418-03E7F25B5F9B}"/>
          </ac:spMkLst>
        </pc:spChg>
        <pc:spChg chg="add mod">
          <ac:chgData name="Leutloff, Anastasia" userId="5839b687-c4a9-4bb1-ad64-fcac478334af" providerId="ADAL" clId="{30FDD09F-E05F-4365-9399-46141A920F50}" dt="2024-06-29T20:28:58.625" v="1241" actId="1035"/>
          <ac:spMkLst>
            <pc:docMk/>
            <pc:sldMk cId="3512641577" sldId="261"/>
            <ac:spMk id="5" creationId="{89D7AD93-5E77-D8B1-D961-10C4D66391BC}"/>
          </ac:spMkLst>
        </pc:spChg>
        <pc:spChg chg="add mod">
          <ac:chgData name="Leutloff, Anastasia" userId="5839b687-c4a9-4bb1-ad64-fcac478334af" providerId="ADAL" clId="{30FDD09F-E05F-4365-9399-46141A920F50}" dt="2024-06-29T20:29:28.650" v="1257" actId="1036"/>
          <ac:spMkLst>
            <pc:docMk/>
            <pc:sldMk cId="3512641577" sldId="261"/>
            <ac:spMk id="7" creationId="{E28181D5-64A8-3156-B0EE-5B7CF72E8628}"/>
          </ac:spMkLst>
        </pc:spChg>
        <pc:spChg chg="add mod">
          <ac:chgData name="Leutloff, Anastasia" userId="5839b687-c4a9-4bb1-ad64-fcac478334af" providerId="ADAL" clId="{30FDD09F-E05F-4365-9399-46141A920F50}" dt="2024-06-29T20:28:58.625" v="1241" actId="1035"/>
          <ac:spMkLst>
            <pc:docMk/>
            <pc:sldMk cId="3512641577" sldId="261"/>
            <ac:spMk id="9" creationId="{B9989ECB-2AFA-40DE-529A-E7D27AA4DA0C}"/>
          </ac:spMkLst>
        </pc:spChg>
        <pc:spChg chg="mod">
          <ac:chgData name="Leutloff, Anastasia" userId="5839b687-c4a9-4bb1-ad64-fcac478334af" providerId="ADAL" clId="{30FDD09F-E05F-4365-9399-46141A920F50}" dt="2024-06-29T20:24:17.656" v="1175" actId="1036"/>
          <ac:spMkLst>
            <pc:docMk/>
            <pc:sldMk cId="3512641577" sldId="261"/>
            <ac:spMk id="30" creationId="{8DA17B49-9E28-3B06-0F1D-81E0ACE98429}"/>
          </ac:spMkLst>
        </pc:spChg>
        <pc:spChg chg="del mod">
          <ac:chgData name="Leutloff, Anastasia" userId="5839b687-c4a9-4bb1-ad64-fcac478334af" providerId="ADAL" clId="{30FDD09F-E05F-4365-9399-46141A920F50}" dt="2024-06-29T20:25:45.662" v="1194" actId="478"/>
          <ac:spMkLst>
            <pc:docMk/>
            <pc:sldMk cId="3512641577" sldId="261"/>
            <ac:spMk id="48" creationId="{87A2DEB1-98C8-3F8F-6058-ABBA3E808739}"/>
          </ac:spMkLst>
        </pc:spChg>
        <pc:spChg chg="del mod">
          <ac:chgData name="Leutloff, Anastasia" userId="5839b687-c4a9-4bb1-ad64-fcac478334af" providerId="ADAL" clId="{30FDD09F-E05F-4365-9399-46141A920F50}" dt="2024-06-29T20:22:23.802" v="1126" actId="478"/>
          <ac:spMkLst>
            <pc:docMk/>
            <pc:sldMk cId="3512641577" sldId="261"/>
            <ac:spMk id="50" creationId="{B00B2901-CA56-29F7-73B5-F2D47F7E8179}"/>
          </ac:spMkLst>
        </pc:spChg>
        <pc:spChg chg="del mod">
          <ac:chgData name="Leutloff, Anastasia" userId="5839b687-c4a9-4bb1-ad64-fcac478334af" providerId="ADAL" clId="{30FDD09F-E05F-4365-9399-46141A920F50}" dt="2024-06-29T20:28:25.526" v="1226" actId="478"/>
          <ac:spMkLst>
            <pc:docMk/>
            <pc:sldMk cId="3512641577" sldId="261"/>
            <ac:spMk id="51" creationId="{B0809C44-58D1-69C8-8351-5AE0833E34D0}"/>
          </ac:spMkLst>
        </pc:spChg>
        <pc:spChg chg="del mod">
          <ac:chgData name="Leutloff, Anastasia" userId="5839b687-c4a9-4bb1-ad64-fcac478334af" providerId="ADAL" clId="{30FDD09F-E05F-4365-9399-46141A920F50}" dt="2024-06-29T20:23:43.675" v="1143" actId="478"/>
          <ac:spMkLst>
            <pc:docMk/>
            <pc:sldMk cId="3512641577" sldId="261"/>
            <ac:spMk id="52" creationId="{03DE5F2C-88BE-4DC5-CE90-D8ABB1DD6245}"/>
          </ac:spMkLst>
        </pc:spChg>
        <pc:grpChg chg="add mod">
          <ac:chgData name="Leutloff, Anastasia" userId="5839b687-c4a9-4bb1-ad64-fcac478334af" providerId="ADAL" clId="{30FDD09F-E05F-4365-9399-46141A920F50}" dt="2024-06-29T20:29:28.650" v="1257" actId="1036"/>
          <ac:grpSpMkLst>
            <pc:docMk/>
            <pc:sldMk cId="3512641577" sldId="261"/>
            <ac:grpSpMk id="3" creationId="{6EBD05E4-7087-FCE6-67D6-8E41636833AB}"/>
          </ac:grpSpMkLst>
        </pc:grpChg>
        <pc:grpChg chg="add mod">
          <ac:chgData name="Leutloff, Anastasia" userId="5839b687-c4a9-4bb1-ad64-fcac478334af" providerId="ADAL" clId="{30FDD09F-E05F-4365-9399-46141A920F50}" dt="2024-06-29T20:28:58.625" v="1241" actId="1035"/>
          <ac:grpSpMkLst>
            <pc:docMk/>
            <pc:sldMk cId="3512641577" sldId="261"/>
            <ac:grpSpMk id="6" creationId="{9565F75E-11E0-0366-D22B-67EF0C47B42A}"/>
          </ac:grpSpMkLst>
        </pc:grpChg>
        <pc:grpChg chg="add mod">
          <ac:chgData name="Leutloff, Anastasia" userId="5839b687-c4a9-4bb1-ad64-fcac478334af" providerId="ADAL" clId="{30FDD09F-E05F-4365-9399-46141A920F50}" dt="2024-06-29T20:29:28.650" v="1257" actId="1036"/>
          <ac:grpSpMkLst>
            <pc:docMk/>
            <pc:sldMk cId="3512641577" sldId="261"/>
            <ac:grpSpMk id="8" creationId="{BA8B00DB-4A4E-E393-4662-E57AD1F5E257}"/>
          </ac:grpSpMkLst>
        </pc:grpChg>
        <pc:grpChg chg="add mod">
          <ac:chgData name="Leutloff, Anastasia" userId="5839b687-c4a9-4bb1-ad64-fcac478334af" providerId="ADAL" clId="{30FDD09F-E05F-4365-9399-46141A920F50}" dt="2024-06-29T20:28:58.625" v="1241" actId="1035"/>
          <ac:grpSpMkLst>
            <pc:docMk/>
            <pc:sldMk cId="3512641577" sldId="261"/>
            <ac:grpSpMk id="10" creationId="{DB3516C8-16B5-3FA4-80D3-FEC289D9DD93}"/>
          </ac:grpSpMkLst>
        </pc:grpChg>
        <pc:picChg chg="mod">
          <ac:chgData name="Leutloff, Anastasia" userId="5839b687-c4a9-4bb1-ad64-fcac478334af" providerId="ADAL" clId="{30FDD09F-E05F-4365-9399-46141A920F50}" dt="2024-06-29T19:51:45.798" v="440" actId="1076"/>
          <ac:picMkLst>
            <pc:docMk/>
            <pc:sldMk cId="3512641577" sldId="261"/>
            <ac:picMk id="56" creationId="{8803DE2B-DB4E-0314-BACE-50DA6C91BC68}"/>
          </ac:picMkLst>
        </pc:picChg>
        <pc:picChg chg="add mod">
          <ac:chgData name="Leutloff, Anastasia" userId="5839b687-c4a9-4bb1-ad64-fcac478334af" providerId="ADAL" clId="{30FDD09F-E05F-4365-9399-46141A920F50}" dt="2024-06-29T20:29:28.650" v="1257" actId="1036"/>
          <ac:picMkLst>
            <pc:docMk/>
            <pc:sldMk cId="3512641577" sldId="261"/>
            <ac:picMk id="6146" creationId="{DD19D4A6-C6C1-2F9F-512A-2058E260C8A6}"/>
          </ac:picMkLst>
        </pc:picChg>
        <pc:picChg chg="add mod">
          <ac:chgData name="Leutloff, Anastasia" userId="5839b687-c4a9-4bb1-ad64-fcac478334af" providerId="ADAL" clId="{30FDD09F-E05F-4365-9399-46141A920F50}" dt="2024-06-29T20:28:58.625" v="1241" actId="1035"/>
          <ac:picMkLst>
            <pc:docMk/>
            <pc:sldMk cId="3512641577" sldId="261"/>
            <ac:picMk id="6148" creationId="{327A4827-7760-44FC-B373-A3F56321FE3D}"/>
          </ac:picMkLst>
        </pc:picChg>
        <pc:picChg chg="add del mod">
          <ac:chgData name="Leutloff, Anastasia" userId="5839b687-c4a9-4bb1-ad64-fcac478334af" providerId="ADAL" clId="{30FDD09F-E05F-4365-9399-46141A920F50}" dt="2024-06-29T20:26:04.824" v="1199" actId="478"/>
          <ac:picMkLst>
            <pc:docMk/>
            <pc:sldMk cId="3512641577" sldId="261"/>
            <ac:picMk id="6150" creationId="{DAE1AAC0-77F8-824B-CA49-B065A95DB289}"/>
          </ac:picMkLst>
        </pc:picChg>
        <pc:picChg chg="add mod">
          <ac:chgData name="Leutloff, Anastasia" userId="5839b687-c4a9-4bb1-ad64-fcac478334af" providerId="ADAL" clId="{30FDD09F-E05F-4365-9399-46141A920F50}" dt="2024-06-29T20:29:28.650" v="1257" actId="1036"/>
          <ac:picMkLst>
            <pc:docMk/>
            <pc:sldMk cId="3512641577" sldId="261"/>
            <ac:picMk id="6152" creationId="{CD14E561-82CC-964F-495C-FA7B97738435}"/>
          </ac:picMkLst>
        </pc:picChg>
        <pc:picChg chg="add mod">
          <ac:chgData name="Leutloff, Anastasia" userId="5839b687-c4a9-4bb1-ad64-fcac478334af" providerId="ADAL" clId="{30FDD09F-E05F-4365-9399-46141A920F50}" dt="2024-06-29T20:28:58.625" v="1241" actId="1035"/>
          <ac:picMkLst>
            <pc:docMk/>
            <pc:sldMk cId="3512641577" sldId="261"/>
            <ac:picMk id="6154" creationId="{FE1AA790-96B5-8294-0777-B4956B03A7C6}"/>
          </ac:picMkLst>
        </pc:picChg>
      </pc:sldChg>
      <pc:sldChg chg="addSp delSp modSp mod modAnim">
        <pc:chgData name="Leutloff, Anastasia" userId="5839b687-c4a9-4bb1-ad64-fcac478334af" providerId="ADAL" clId="{30FDD09F-E05F-4365-9399-46141A920F50}" dt="2024-06-29T20:20:50.992" v="1120"/>
        <pc:sldMkLst>
          <pc:docMk/>
          <pc:sldMk cId="3856203407" sldId="262"/>
        </pc:sldMkLst>
        <pc:spChg chg="add del mod modVis">
          <ac:chgData name="Leutloff, Anastasia" userId="5839b687-c4a9-4bb1-ad64-fcac478334af" providerId="ADAL" clId="{30FDD09F-E05F-4365-9399-46141A920F50}" dt="2024-06-29T19:56:13.929" v="547"/>
          <ac:spMkLst>
            <pc:docMk/>
            <pc:sldMk cId="3856203407" sldId="262"/>
            <ac:spMk id="2" creationId="{0A9A9112-ADFB-58B7-B7ED-D81179BCFBE1}"/>
          </ac:spMkLst>
        </pc:spChg>
        <pc:spChg chg="add del mod modVis">
          <ac:chgData name="Leutloff, Anastasia" userId="5839b687-c4a9-4bb1-ad64-fcac478334af" providerId="ADAL" clId="{30FDD09F-E05F-4365-9399-46141A920F50}" dt="2024-06-29T19:56:16.336" v="575"/>
          <ac:spMkLst>
            <pc:docMk/>
            <pc:sldMk cId="3856203407" sldId="262"/>
            <ac:spMk id="3" creationId="{98EB2C02-FD67-D0DE-B716-31DCB9989538}"/>
          </ac:spMkLst>
        </pc:spChg>
        <pc:spChg chg="add del mod modVis">
          <ac:chgData name="Leutloff, Anastasia" userId="5839b687-c4a9-4bb1-ad64-fcac478334af" providerId="ADAL" clId="{30FDD09F-E05F-4365-9399-46141A920F50}" dt="2024-06-29T19:56:17.007" v="603"/>
          <ac:spMkLst>
            <pc:docMk/>
            <pc:sldMk cId="3856203407" sldId="262"/>
            <ac:spMk id="5" creationId="{AC3205F8-DB4B-705A-BEF8-10AE0F2F4FDA}"/>
          </ac:spMkLst>
        </pc:spChg>
        <pc:spChg chg="add mod">
          <ac:chgData name="Leutloff, Anastasia" userId="5839b687-c4a9-4bb1-ad64-fcac478334af" providerId="ADAL" clId="{30FDD09F-E05F-4365-9399-46141A920F50}" dt="2024-06-29T20:20:26.853" v="1116" actId="12788"/>
          <ac:spMkLst>
            <pc:docMk/>
            <pc:sldMk cId="3856203407" sldId="262"/>
            <ac:spMk id="13" creationId="{A32585F9-554F-94D0-2E22-072F160AB042}"/>
          </ac:spMkLst>
        </pc:spChg>
        <pc:spChg chg="add mod">
          <ac:chgData name="Leutloff, Anastasia" userId="5839b687-c4a9-4bb1-ad64-fcac478334af" providerId="ADAL" clId="{30FDD09F-E05F-4365-9399-46141A920F50}" dt="2024-06-29T20:10:12.746" v="902" actId="1076"/>
          <ac:spMkLst>
            <pc:docMk/>
            <pc:sldMk cId="3856203407" sldId="262"/>
            <ac:spMk id="14" creationId="{206B0517-35E9-07CD-FC9F-62AB882DC52F}"/>
          </ac:spMkLst>
        </pc:spChg>
        <pc:spChg chg="add mod">
          <ac:chgData name="Leutloff, Anastasia" userId="5839b687-c4a9-4bb1-ad64-fcac478334af" providerId="ADAL" clId="{30FDD09F-E05F-4365-9399-46141A920F50}" dt="2024-06-29T20:10:05.205" v="900" actId="1076"/>
          <ac:spMkLst>
            <pc:docMk/>
            <pc:sldMk cId="3856203407" sldId="262"/>
            <ac:spMk id="15" creationId="{D7A7EC47-A4BE-02DA-4653-881978729727}"/>
          </ac:spMkLst>
        </pc:spChg>
        <pc:spChg chg="add mod">
          <ac:chgData name="Leutloff, Anastasia" userId="5839b687-c4a9-4bb1-ad64-fcac478334af" providerId="ADAL" clId="{30FDD09F-E05F-4365-9399-46141A920F50}" dt="2024-06-29T20:10:10.912" v="901" actId="1076"/>
          <ac:spMkLst>
            <pc:docMk/>
            <pc:sldMk cId="3856203407" sldId="262"/>
            <ac:spMk id="16" creationId="{3A1AA797-A317-DE97-24C3-E76AEACBCCD5}"/>
          </ac:spMkLst>
        </pc:spChg>
        <pc:spChg chg="mod">
          <ac:chgData name="Leutloff, Anastasia" userId="5839b687-c4a9-4bb1-ad64-fcac478334af" providerId="ADAL" clId="{30FDD09F-E05F-4365-9399-46141A920F50}" dt="2024-06-29T19:56:16.985" v="579" actId="948"/>
          <ac:spMkLst>
            <pc:docMk/>
            <pc:sldMk cId="3856203407" sldId="262"/>
            <ac:spMk id="29" creationId="{90BB3A4F-3F27-67FB-FEB7-6F896F53E27F}"/>
          </ac:spMkLst>
        </pc:spChg>
        <pc:grpChg chg="add mod">
          <ac:chgData name="Leutloff, Anastasia" userId="5839b687-c4a9-4bb1-ad64-fcac478334af" providerId="ADAL" clId="{30FDD09F-E05F-4365-9399-46141A920F50}" dt="2024-06-29T20:10:05.205" v="900" actId="1076"/>
          <ac:grpSpMkLst>
            <pc:docMk/>
            <pc:sldMk cId="3856203407" sldId="262"/>
            <ac:grpSpMk id="17" creationId="{D0B96D60-FF71-C314-0017-99F37D735DCC}"/>
          </ac:grpSpMkLst>
        </pc:grpChg>
        <pc:grpChg chg="add mod">
          <ac:chgData name="Leutloff, Anastasia" userId="5839b687-c4a9-4bb1-ad64-fcac478334af" providerId="ADAL" clId="{30FDD09F-E05F-4365-9399-46141A920F50}" dt="2024-06-29T20:10:12.746" v="902" actId="1076"/>
          <ac:grpSpMkLst>
            <pc:docMk/>
            <pc:sldMk cId="3856203407" sldId="262"/>
            <ac:grpSpMk id="18" creationId="{96032278-FFD8-F6B7-D61B-7416796A8726}"/>
          </ac:grpSpMkLst>
        </pc:grpChg>
        <pc:grpChg chg="add mod">
          <ac:chgData name="Leutloff, Anastasia" userId="5839b687-c4a9-4bb1-ad64-fcac478334af" providerId="ADAL" clId="{30FDD09F-E05F-4365-9399-46141A920F50}" dt="2024-06-29T20:10:10.912" v="901" actId="1076"/>
          <ac:grpSpMkLst>
            <pc:docMk/>
            <pc:sldMk cId="3856203407" sldId="262"/>
            <ac:grpSpMk id="19" creationId="{49C25562-03D2-CA2F-6FC9-16EDADA69785}"/>
          </ac:grpSpMkLst>
        </pc:grpChg>
        <pc:graphicFrameChg chg="mod">
          <ac:chgData name="Leutloff, Anastasia" userId="5839b687-c4a9-4bb1-ad64-fcac478334af" providerId="ADAL" clId="{30FDD09F-E05F-4365-9399-46141A920F50}" dt="2024-06-29T19:56:17.011" v="605"/>
          <ac:graphicFrameMkLst>
            <pc:docMk/>
            <pc:sldMk cId="3856203407" sldId="262"/>
            <ac:graphicFrameMk id="4" creationId="{F889563F-B327-9598-E381-1F26A090A219}"/>
          </ac:graphicFrameMkLst>
        </pc:graphicFrameChg>
        <pc:graphicFrameChg chg="del mod">
          <ac:chgData name="Leutloff, Anastasia" userId="5839b687-c4a9-4bb1-ad64-fcac478334af" providerId="ADAL" clId="{30FDD09F-E05F-4365-9399-46141A920F50}" dt="2024-06-29T20:08:20.037" v="882" actId="478"/>
          <ac:graphicFrameMkLst>
            <pc:docMk/>
            <pc:sldMk cId="3856203407" sldId="262"/>
            <ac:graphicFrameMk id="6" creationId="{00BB9216-5B5A-9FD5-10B9-0404EE4C3DA4}"/>
          </ac:graphicFrameMkLst>
        </pc:graphicFrameChg>
        <pc:picChg chg="add del mod">
          <ac:chgData name="Leutloff, Anastasia" userId="5839b687-c4a9-4bb1-ad64-fcac478334af" providerId="ADAL" clId="{30FDD09F-E05F-4365-9399-46141A920F50}" dt="2024-06-29T20:01:59.035" v="711" actId="478"/>
          <ac:picMkLst>
            <pc:docMk/>
            <pc:sldMk cId="3856203407" sldId="262"/>
            <ac:picMk id="8" creationId="{7F8D7603-E9B2-BD99-DECF-85EA5DF62C0F}"/>
          </ac:picMkLst>
        </pc:picChg>
        <pc:picChg chg="add mod">
          <ac:chgData name="Leutloff, Anastasia" userId="5839b687-c4a9-4bb1-ad64-fcac478334af" providerId="ADAL" clId="{30FDD09F-E05F-4365-9399-46141A920F50}" dt="2024-06-29T20:20:26.853" v="1116" actId="12788"/>
          <ac:picMkLst>
            <pc:docMk/>
            <pc:sldMk cId="3856203407" sldId="262"/>
            <ac:picMk id="9" creationId="{9F37D267-FAF3-5682-6522-1508FED077DB}"/>
          </ac:picMkLst>
        </pc:picChg>
        <pc:picChg chg="add mod">
          <ac:chgData name="Leutloff, Anastasia" userId="5839b687-c4a9-4bb1-ad64-fcac478334af" providerId="ADAL" clId="{30FDD09F-E05F-4365-9399-46141A920F50}" dt="2024-06-29T20:10:12.746" v="902" actId="1076"/>
          <ac:picMkLst>
            <pc:docMk/>
            <pc:sldMk cId="3856203407" sldId="262"/>
            <ac:picMk id="10" creationId="{AE5A106C-C7F3-C602-3CF6-7F1AA325E2A5}"/>
          </ac:picMkLst>
        </pc:picChg>
        <pc:picChg chg="add del mod">
          <ac:chgData name="Leutloff, Anastasia" userId="5839b687-c4a9-4bb1-ad64-fcac478334af" providerId="ADAL" clId="{30FDD09F-E05F-4365-9399-46141A920F50}" dt="2024-06-29T20:04:49.048" v="728" actId="478"/>
          <ac:picMkLst>
            <pc:docMk/>
            <pc:sldMk cId="3856203407" sldId="262"/>
            <ac:picMk id="11" creationId="{B00CD5A2-CFB5-EFAB-83CB-8416AAFF9F53}"/>
          </ac:picMkLst>
        </pc:picChg>
        <pc:picChg chg="mod">
          <ac:chgData name="Leutloff, Anastasia" userId="5839b687-c4a9-4bb1-ad64-fcac478334af" providerId="ADAL" clId="{30FDD09F-E05F-4365-9399-46141A920F50}" dt="2024-06-29T20:09:36.436" v="894" actId="1076"/>
          <ac:picMkLst>
            <pc:docMk/>
            <pc:sldMk cId="3856203407" sldId="262"/>
            <ac:picMk id="20" creationId="{2E0BC4FA-CEFE-3930-CEB9-9D72C5D2AD76}"/>
          </ac:picMkLst>
        </pc:picChg>
        <pc:picChg chg="add mod">
          <ac:chgData name="Leutloff, Anastasia" userId="5839b687-c4a9-4bb1-ad64-fcac478334af" providerId="ADAL" clId="{30FDD09F-E05F-4365-9399-46141A920F50}" dt="2024-06-29T20:10:05.205" v="900" actId="1076"/>
          <ac:picMkLst>
            <pc:docMk/>
            <pc:sldMk cId="3856203407" sldId="262"/>
            <ac:picMk id="4098" creationId="{1B87DCED-729D-44D4-78CB-D0D4A80E959A}"/>
          </ac:picMkLst>
        </pc:picChg>
        <pc:picChg chg="add del mod">
          <ac:chgData name="Leutloff, Anastasia" userId="5839b687-c4a9-4bb1-ad64-fcac478334af" providerId="ADAL" clId="{30FDD09F-E05F-4365-9399-46141A920F50}" dt="2024-06-29T20:10:10.912" v="901" actId="1076"/>
          <ac:picMkLst>
            <pc:docMk/>
            <pc:sldMk cId="3856203407" sldId="262"/>
            <ac:picMk id="4100" creationId="{13A7119C-A992-9BB0-1E21-2271AB6FB261}"/>
          </ac:picMkLst>
        </pc:picChg>
        <pc:picChg chg="add del mod">
          <ac:chgData name="Leutloff, Anastasia" userId="5839b687-c4a9-4bb1-ad64-fcac478334af" providerId="ADAL" clId="{30FDD09F-E05F-4365-9399-46141A920F50}" dt="2024-06-29T20:05:31.650" v="743" actId="732"/>
          <ac:picMkLst>
            <pc:docMk/>
            <pc:sldMk cId="3856203407" sldId="262"/>
            <ac:picMk id="4102" creationId="{6A06362C-2AE1-D1D5-1A2B-EA582F3EE48B}"/>
          </ac:picMkLst>
        </pc:picChg>
      </pc:sldChg>
      <pc:sldChg chg="modSp mod">
        <pc:chgData name="Leutloff, Anastasia" userId="5839b687-c4a9-4bb1-ad64-fcac478334af" providerId="ADAL" clId="{30FDD09F-E05F-4365-9399-46141A920F50}" dt="2024-06-29T20:31:07.551" v="1299" actId="1036"/>
        <pc:sldMkLst>
          <pc:docMk/>
          <pc:sldMk cId="3221929325" sldId="265"/>
        </pc:sldMkLst>
        <pc:spChg chg="mod">
          <ac:chgData name="Leutloff, Anastasia" userId="5839b687-c4a9-4bb1-ad64-fcac478334af" providerId="ADAL" clId="{30FDD09F-E05F-4365-9399-46141A920F50}" dt="2024-06-29T20:31:07.551" v="1299" actId="1036"/>
          <ac:spMkLst>
            <pc:docMk/>
            <pc:sldMk cId="3221929325" sldId="265"/>
            <ac:spMk id="7" creationId="{C1FDCDDD-A266-F4B9-2592-744676A00B71}"/>
          </ac:spMkLst>
        </pc:spChg>
        <pc:spChg chg="mod">
          <ac:chgData name="Leutloff, Anastasia" userId="5839b687-c4a9-4bb1-ad64-fcac478334af" providerId="ADAL" clId="{30FDD09F-E05F-4365-9399-46141A920F50}" dt="2024-06-29T20:30:52.973" v="1276" actId="1035"/>
          <ac:spMkLst>
            <pc:docMk/>
            <pc:sldMk cId="3221929325" sldId="265"/>
            <ac:spMk id="8" creationId="{6DF40505-270A-0B22-DF9E-6E35019C4E72}"/>
          </ac:spMkLst>
        </pc:spChg>
        <pc:spChg chg="mod">
          <ac:chgData name="Leutloff, Anastasia" userId="5839b687-c4a9-4bb1-ad64-fcac478334af" providerId="ADAL" clId="{30FDD09F-E05F-4365-9399-46141A920F50}" dt="2024-06-29T20:30:52.973" v="1276" actId="1035"/>
          <ac:spMkLst>
            <pc:docMk/>
            <pc:sldMk cId="3221929325" sldId="265"/>
            <ac:spMk id="9" creationId="{2FA2838C-79F9-4F93-2005-7EF5850A5BAA}"/>
          </ac:spMkLst>
        </pc:spChg>
        <pc:spChg chg="mod">
          <ac:chgData name="Leutloff, Anastasia" userId="5839b687-c4a9-4bb1-ad64-fcac478334af" providerId="ADAL" clId="{30FDD09F-E05F-4365-9399-46141A920F50}" dt="2024-06-29T20:30:52.973" v="1276" actId="1035"/>
          <ac:spMkLst>
            <pc:docMk/>
            <pc:sldMk cId="3221929325" sldId="265"/>
            <ac:spMk id="10" creationId="{33759516-DC80-DF37-E430-4BC13F18D498}"/>
          </ac:spMkLst>
        </pc:spChg>
        <pc:spChg chg="mod">
          <ac:chgData name="Leutloff, Anastasia" userId="5839b687-c4a9-4bb1-ad64-fcac478334af" providerId="ADAL" clId="{30FDD09F-E05F-4365-9399-46141A920F50}" dt="2024-06-29T20:31:07.551" v="1299" actId="1036"/>
          <ac:spMkLst>
            <pc:docMk/>
            <pc:sldMk cId="3221929325" sldId="265"/>
            <ac:spMk id="11" creationId="{6BD498DE-337A-7644-8B4B-E6AD4D08BEC7}"/>
          </ac:spMkLst>
        </pc:spChg>
        <pc:picChg chg="mod">
          <ac:chgData name="Leutloff, Anastasia" userId="5839b687-c4a9-4bb1-ad64-fcac478334af" providerId="ADAL" clId="{30FDD09F-E05F-4365-9399-46141A920F50}" dt="2024-06-29T20:30:45.156" v="1260" actId="14100"/>
          <ac:picMkLst>
            <pc:docMk/>
            <pc:sldMk cId="3221929325" sldId="265"/>
            <ac:picMk id="2" creationId="{5BF4851F-2336-7325-1CF5-5CE6794D141F}"/>
          </ac:picMkLst>
        </pc:picChg>
        <pc:picChg chg="mod">
          <ac:chgData name="Leutloff, Anastasia" userId="5839b687-c4a9-4bb1-ad64-fcac478334af" providerId="ADAL" clId="{30FDD09F-E05F-4365-9399-46141A920F50}" dt="2024-06-29T20:31:00.571" v="1280" actId="1035"/>
          <ac:picMkLst>
            <pc:docMk/>
            <pc:sldMk cId="3221929325" sldId="265"/>
            <ac:picMk id="6" creationId="{9C9408F1-3269-0A0D-8B8F-C39308474560}"/>
          </ac:picMkLst>
        </pc:picChg>
        <pc:picChg chg="mod">
          <ac:chgData name="Leutloff, Anastasia" userId="5839b687-c4a9-4bb1-ad64-fcac478334af" providerId="ADAL" clId="{30FDD09F-E05F-4365-9399-46141A920F50}" dt="2024-06-29T20:30:45.156" v="1260" actId="14100"/>
          <ac:picMkLst>
            <pc:docMk/>
            <pc:sldMk cId="3221929325" sldId="265"/>
            <ac:picMk id="1026" creationId="{FE0C1373-D30C-177A-389C-631A691C269F}"/>
          </ac:picMkLst>
        </pc:picChg>
        <pc:picChg chg="mod">
          <ac:chgData name="Leutloff, Anastasia" userId="5839b687-c4a9-4bb1-ad64-fcac478334af" providerId="ADAL" clId="{30FDD09F-E05F-4365-9399-46141A920F50}" dt="2024-06-29T20:30:45.156" v="1260" actId="14100"/>
          <ac:picMkLst>
            <pc:docMk/>
            <pc:sldMk cId="3221929325" sldId="265"/>
            <ac:picMk id="2050" creationId="{DDBEACFB-1D6D-C365-6DC1-8174BCA7238D}"/>
          </ac:picMkLst>
        </pc:picChg>
        <pc:picChg chg="mod">
          <ac:chgData name="Leutloff, Anastasia" userId="5839b687-c4a9-4bb1-ad64-fcac478334af" providerId="ADAL" clId="{30FDD09F-E05F-4365-9399-46141A920F50}" dt="2024-06-29T20:31:00.571" v="1280" actId="1035"/>
          <ac:picMkLst>
            <pc:docMk/>
            <pc:sldMk cId="3221929325" sldId="265"/>
            <ac:picMk id="2054" creationId="{F32B37D4-83CA-C8AF-4D30-FA0146147D9D}"/>
          </ac:picMkLst>
        </pc:picChg>
      </pc:sldChg>
      <pc:sldChg chg="addSp delSp modSp mod">
        <pc:chgData name="Leutloff, Anastasia" userId="5839b687-c4a9-4bb1-ad64-fcac478334af" providerId="ADAL" clId="{30FDD09F-E05F-4365-9399-46141A920F50}" dt="2024-06-30T09:29:23.006" v="1881"/>
        <pc:sldMkLst>
          <pc:docMk/>
          <pc:sldMk cId="1692945023" sldId="266"/>
        </pc:sldMkLst>
        <pc:spChg chg="del">
          <ac:chgData name="Leutloff, Anastasia" userId="5839b687-c4a9-4bb1-ad64-fcac478334af" providerId="ADAL" clId="{30FDD09F-E05F-4365-9399-46141A920F50}" dt="2024-06-30T07:29:46.018" v="1303" actId="478"/>
          <ac:spMkLst>
            <pc:docMk/>
            <pc:sldMk cId="1692945023" sldId="266"/>
            <ac:spMk id="3" creationId="{02D9DD96-00B7-7F5D-9205-6CA471F12648}"/>
          </ac:spMkLst>
        </pc:spChg>
        <pc:spChg chg="add del mod modVis">
          <ac:chgData name="Leutloff, Anastasia" userId="5839b687-c4a9-4bb1-ad64-fcac478334af" providerId="ADAL" clId="{30FDD09F-E05F-4365-9399-46141A920F50}" dt="2024-06-30T09:29:23.003" v="1879"/>
          <ac:spMkLst>
            <pc:docMk/>
            <pc:sldMk cId="1692945023" sldId="266"/>
            <ac:spMk id="3" creationId="{17BF4651-CF3F-ECF7-6DDB-EE2D2AB9307C}"/>
          </ac:spMkLst>
        </pc:spChg>
        <pc:spChg chg="add mod">
          <ac:chgData name="Leutloff, Anastasia" userId="5839b687-c4a9-4bb1-ad64-fcac478334af" providerId="ADAL" clId="{30FDD09F-E05F-4365-9399-46141A920F50}" dt="2024-06-30T07:30:56.561" v="1324" actId="27636"/>
          <ac:spMkLst>
            <pc:docMk/>
            <pc:sldMk cId="1692945023" sldId="266"/>
            <ac:spMk id="9" creationId="{A798BBE0-CD9B-A4B1-0515-05EAD877FE51}"/>
          </ac:spMkLst>
        </pc:spChg>
        <pc:spChg chg="add del mod modVis">
          <ac:chgData name="Leutloff, Anastasia" userId="5839b687-c4a9-4bb1-ad64-fcac478334af" providerId="ADAL" clId="{30FDD09F-E05F-4365-9399-46141A920F50}" dt="2024-06-30T07:57:10.040" v="1493"/>
          <ac:spMkLst>
            <pc:docMk/>
            <pc:sldMk cId="1692945023" sldId="266"/>
            <ac:spMk id="10" creationId="{C045383E-C9AB-E7E5-97A6-92D08A52FC5F}"/>
          </ac:spMkLst>
        </pc:spChg>
        <pc:spChg chg="add del mod modVis">
          <ac:chgData name="Leutloff, Anastasia" userId="5839b687-c4a9-4bb1-ad64-fcac478334af" providerId="ADAL" clId="{30FDD09F-E05F-4365-9399-46141A920F50}" dt="2024-06-30T07:57:10.674" v="1521"/>
          <ac:spMkLst>
            <pc:docMk/>
            <pc:sldMk cId="1692945023" sldId="266"/>
            <ac:spMk id="11" creationId="{85B0DC7A-F24A-AE66-3B5B-216B716A0EC4}"/>
          </ac:spMkLst>
        </pc:spChg>
        <pc:spChg chg="mod">
          <ac:chgData name="Leutloff, Anastasia" userId="5839b687-c4a9-4bb1-ad64-fcac478334af" providerId="ADAL" clId="{30FDD09F-E05F-4365-9399-46141A920F50}" dt="2024-06-30T09:29:22.978" v="1855" actId="948"/>
          <ac:spMkLst>
            <pc:docMk/>
            <pc:sldMk cId="1692945023" sldId="266"/>
            <ac:spMk id="29" creationId="{90BB3A4F-3F27-67FB-FEB7-6F896F53E27F}"/>
          </ac:spMkLst>
        </pc:spChg>
        <pc:spChg chg="del">
          <ac:chgData name="Leutloff, Anastasia" userId="5839b687-c4a9-4bb1-ad64-fcac478334af" providerId="ADAL" clId="{30FDD09F-E05F-4365-9399-46141A920F50}" dt="2024-06-30T07:29:47.008" v="1304" actId="478"/>
          <ac:spMkLst>
            <pc:docMk/>
            <pc:sldMk cId="1692945023" sldId="266"/>
            <ac:spMk id="30" creationId="{8DA17B49-9E28-3B06-0F1D-81E0ACE98429}"/>
          </ac:spMkLst>
        </pc:spChg>
        <pc:graphicFrameChg chg="mod">
          <ac:chgData name="Leutloff, Anastasia" userId="5839b687-c4a9-4bb1-ad64-fcac478334af" providerId="ADAL" clId="{30FDD09F-E05F-4365-9399-46141A920F50}" dt="2024-06-30T09:29:23.006" v="1881"/>
          <ac:graphicFrameMkLst>
            <pc:docMk/>
            <pc:sldMk cId="1692945023" sldId="266"/>
            <ac:graphicFrameMk id="4" creationId="{F889563F-B327-9598-E381-1F26A090A219}"/>
          </ac:graphicFrameMkLst>
        </pc:graphicFrameChg>
        <pc:picChg chg="add mod">
          <ac:chgData name="Leutloff, Anastasia" userId="5839b687-c4a9-4bb1-ad64-fcac478334af" providerId="ADAL" clId="{30FDD09F-E05F-4365-9399-46141A920F50}" dt="2024-06-30T07:30:52.267" v="1322"/>
          <ac:picMkLst>
            <pc:docMk/>
            <pc:sldMk cId="1692945023" sldId="266"/>
            <ac:picMk id="6" creationId="{F1A573B1-59D8-3222-BA02-E0405A7F9E66}"/>
          </ac:picMkLst>
        </pc:picChg>
        <pc:picChg chg="add del">
          <ac:chgData name="Leutloff, Anastasia" userId="5839b687-c4a9-4bb1-ad64-fcac478334af" providerId="ADAL" clId="{30FDD09F-E05F-4365-9399-46141A920F50}" dt="2024-06-30T07:30:03.710" v="1316" actId="478"/>
          <ac:picMkLst>
            <pc:docMk/>
            <pc:sldMk cId="1692945023" sldId="266"/>
            <ac:picMk id="8" creationId="{BD8E311E-478B-3E80-8A2D-FDB1B7864282}"/>
          </ac:picMkLst>
        </pc:picChg>
      </pc:sldChg>
      <pc:sldChg chg="addSp delSp modSp mod ord">
        <pc:chgData name="Leutloff, Anastasia" userId="5839b687-c4a9-4bb1-ad64-fcac478334af" providerId="ADAL" clId="{30FDD09F-E05F-4365-9399-46141A920F50}" dt="2024-06-30T12:39:54.703" v="1887"/>
        <pc:sldMkLst>
          <pc:docMk/>
          <pc:sldMk cId="1025356472" sldId="267"/>
        </pc:sldMkLst>
        <pc:spChg chg="add mod">
          <ac:chgData name="Leutloff, Anastasia" userId="5839b687-c4a9-4bb1-ad64-fcac478334af" providerId="ADAL" clId="{30FDD09F-E05F-4365-9399-46141A920F50}" dt="2024-06-29T19:26:36.718" v="132" actId="12788"/>
          <ac:spMkLst>
            <pc:docMk/>
            <pc:sldMk cId="1025356472" sldId="267"/>
            <ac:spMk id="6" creationId="{623E9956-B419-696C-6B39-0D078A32C7E5}"/>
          </ac:spMkLst>
        </pc:spChg>
        <pc:spChg chg="add del mod">
          <ac:chgData name="Leutloff, Anastasia" userId="5839b687-c4a9-4bb1-ad64-fcac478334af" providerId="ADAL" clId="{30FDD09F-E05F-4365-9399-46141A920F50}" dt="2024-06-29T19:26:52.720" v="134" actId="478"/>
          <ac:spMkLst>
            <pc:docMk/>
            <pc:sldMk cId="1025356472" sldId="267"/>
            <ac:spMk id="9" creationId="{BDF7CD0B-0F1F-52C5-693D-283ED3C2995C}"/>
          </ac:spMkLst>
        </pc:spChg>
        <pc:spChg chg="del mod">
          <ac:chgData name="Leutloff, Anastasia" userId="5839b687-c4a9-4bb1-ad64-fcac478334af" providerId="ADAL" clId="{30FDD09F-E05F-4365-9399-46141A920F50}" dt="2024-06-29T19:25:53.143" v="112" actId="478"/>
          <ac:spMkLst>
            <pc:docMk/>
            <pc:sldMk cId="1025356472" sldId="267"/>
            <ac:spMk id="30" creationId="{8DA17B49-9E28-3B06-0F1D-81E0ACE98429}"/>
          </ac:spMkLst>
        </pc:spChg>
        <pc:graphicFrameChg chg="add mod modGraphic">
          <ac:chgData name="Leutloff, Anastasia" userId="5839b687-c4a9-4bb1-ad64-fcac478334af" providerId="ADAL" clId="{30FDD09F-E05F-4365-9399-46141A920F50}" dt="2024-06-29T19:41:28.959" v="238" actId="113"/>
          <ac:graphicFrameMkLst>
            <pc:docMk/>
            <pc:sldMk cId="1025356472" sldId="267"/>
            <ac:graphicFrameMk id="2" creationId="{B4966406-90EE-57B7-AEAC-B7803609BB64}"/>
          </ac:graphicFrameMkLst>
        </pc:graphicFrameChg>
        <pc:picChg chg="del mod">
          <ac:chgData name="Leutloff, Anastasia" userId="5839b687-c4a9-4bb1-ad64-fcac478334af" providerId="ADAL" clId="{30FDD09F-E05F-4365-9399-46141A920F50}" dt="2024-06-29T19:26:47.735" v="133" actId="478"/>
          <ac:picMkLst>
            <pc:docMk/>
            <pc:sldMk cId="1025356472" sldId="267"/>
            <ac:picMk id="7" creationId="{995C5959-9D01-5FB9-0FD1-65B705872DC4}"/>
          </ac:picMkLst>
        </pc:picChg>
        <pc:picChg chg="del">
          <ac:chgData name="Leutloff, Anastasia" userId="5839b687-c4a9-4bb1-ad64-fcac478334af" providerId="ADAL" clId="{30FDD09F-E05F-4365-9399-46141A920F50}" dt="2024-06-29T19:22:27.950" v="72" actId="478"/>
          <ac:picMkLst>
            <pc:docMk/>
            <pc:sldMk cId="1025356472" sldId="267"/>
            <ac:picMk id="10" creationId="{3488E00F-C1A6-757C-E595-81655E86CDC5}"/>
          </ac:picMkLst>
        </pc:picChg>
        <pc:picChg chg="add del mod">
          <ac:chgData name="Leutloff, Anastasia" userId="5839b687-c4a9-4bb1-ad64-fcac478334af" providerId="ADAL" clId="{30FDD09F-E05F-4365-9399-46141A920F50}" dt="2024-06-30T07:56:15.448" v="1402" actId="478"/>
          <ac:picMkLst>
            <pc:docMk/>
            <pc:sldMk cId="1025356472" sldId="267"/>
            <ac:picMk id="1026" creationId="{B29CF5C5-A289-785A-9623-745D30CB232F}"/>
          </ac:picMkLst>
        </pc:picChg>
        <pc:picChg chg="add mod">
          <ac:chgData name="Leutloff, Anastasia" userId="5839b687-c4a9-4bb1-ad64-fcac478334af" providerId="ADAL" clId="{30FDD09F-E05F-4365-9399-46141A920F50}" dt="2024-06-30T07:56:33.637" v="1409" actId="1076"/>
          <ac:picMkLst>
            <pc:docMk/>
            <pc:sldMk cId="1025356472" sldId="267"/>
            <ac:picMk id="2050" creationId="{3F1D0BDA-BE41-DC91-2091-7139A063C589}"/>
          </ac:picMkLst>
        </pc:picChg>
      </pc:sldChg>
      <pc:sldChg chg="addSp delSp modSp mod modAnim">
        <pc:chgData name="Leutloff, Anastasia" userId="5839b687-c4a9-4bb1-ad64-fcac478334af" providerId="ADAL" clId="{30FDD09F-E05F-4365-9399-46141A920F50}" dt="2024-06-30T07:34:24.484" v="1326"/>
        <pc:sldMkLst>
          <pc:docMk/>
          <pc:sldMk cId="3094799509" sldId="271"/>
        </pc:sldMkLst>
        <pc:spChg chg="add del mod modVis">
          <ac:chgData name="Leutloff, Anastasia" userId="5839b687-c4a9-4bb1-ad64-fcac478334af" providerId="ADAL" clId="{30FDD09F-E05F-4365-9399-46141A920F50}" dt="2024-06-29T18:46:16.610" v="27"/>
          <ac:spMkLst>
            <pc:docMk/>
            <pc:sldMk cId="3094799509" sldId="271"/>
            <ac:spMk id="2" creationId="{C85C6E72-DAE1-3BF9-30AA-FC23F25BAAA6}"/>
          </ac:spMkLst>
        </pc:spChg>
        <pc:spChg chg="add del mod">
          <ac:chgData name="Leutloff, Anastasia" userId="5839b687-c4a9-4bb1-ad64-fcac478334af" providerId="ADAL" clId="{30FDD09F-E05F-4365-9399-46141A920F50}" dt="2024-06-29T18:53:12.736" v="36" actId="478"/>
          <ac:spMkLst>
            <pc:docMk/>
            <pc:sldMk cId="3094799509" sldId="271"/>
            <ac:spMk id="7" creationId="{3387EC0C-3F77-A220-8DB7-0E4E001C4889}"/>
          </ac:spMkLst>
        </pc:spChg>
        <pc:spChg chg="add mod">
          <ac:chgData name="Leutloff, Anastasia" userId="5839b687-c4a9-4bb1-ad64-fcac478334af" providerId="ADAL" clId="{30FDD09F-E05F-4365-9399-46141A920F50}" dt="2024-06-29T20:18:37.900" v="987" actId="1036"/>
          <ac:spMkLst>
            <pc:docMk/>
            <pc:sldMk cId="3094799509" sldId="271"/>
            <ac:spMk id="10" creationId="{6D885054-7938-8DB7-4980-0E4507A408F5}"/>
          </ac:spMkLst>
        </pc:spChg>
        <pc:spChg chg="add mod">
          <ac:chgData name="Leutloff, Anastasia" userId="5839b687-c4a9-4bb1-ad64-fcac478334af" providerId="ADAL" clId="{30FDD09F-E05F-4365-9399-46141A920F50}" dt="2024-06-29T20:17:52.366" v="965" actId="554"/>
          <ac:spMkLst>
            <pc:docMk/>
            <pc:sldMk cId="3094799509" sldId="271"/>
            <ac:spMk id="11" creationId="{B1AE818B-DF6F-D1EF-0F61-2E0CCCCDF870}"/>
          </ac:spMkLst>
        </pc:spChg>
        <pc:spChg chg="add mod">
          <ac:chgData name="Leutloff, Anastasia" userId="5839b687-c4a9-4bb1-ad64-fcac478334af" providerId="ADAL" clId="{30FDD09F-E05F-4365-9399-46141A920F50}" dt="2024-06-29T20:17:52.366" v="965" actId="554"/>
          <ac:spMkLst>
            <pc:docMk/>
            <pc:sldMk cId="3094799509" sldId="271"/>
            <ac:spMk id="12" creationId="{50B57536-5E2B-DE8C-3B3D-C9ED8296DBA2}"/>
          </ac:spMkLst>
        </pc:spChg>
        <pc:spChg chg="add mod">
          <ac:chgData name="Leutloff, Anastasia" userId="5839b687-c4a9-4bb1-ad64-fcac478334af" providerId="ADAL" clId="{30FDD09F-E05F-4365-9399-46141A920F50}" dt="2024-06-29T20:18:37.900" v="987" actId="1036"/>
          <ac:spMkLst>
            <pc:docMk/>
            <pc:sldMk cId="3094799509" sldId="271"/>
            <ac:spMk id="13" creationId="{F76BEBB8-F1D8-231B-61B9-8F95BE6BFE15}"/>
          </ac:spMkLst>
        </pc:spChg>
        <pc:spChg chg="mod">
          <ac:chgData name="Leutloff, Anastasia" userId="5839b687-c4a9-4bb1-ad64-fcac478334af" providerId="ADAL" clId="{30FDD09F-E05F-4365-9399-46141A920F50}" dt="2024-06-29T18:46:16.577" v="3" actId="948"/>
          <ac:spMkLst>
            <pc:docMk/>
            <pc:sldMk cId="3094799509" sldId="271"/>
            <ac:spMk id="29" creationId="{90BB3A4F-3F27-67FB-FEB7-6F896F53E27F}"/>
          </ac:spMkLst>
        </pc:spChg>
        <pc:grpChg chg="add mod">
          <ac:chgData name="Leutloff, Anastasia" userId="5839b687-c4a9-4bb1-ad64-fcac478334af" providerId="ADAL" clId="{30FDD09F-E05F-4365-9399-46141A920F50}" dt="2024-06-29T20:17:52.366" v="965" actId="554"/>
          <ac:grpSpMkLst>
            <pc:docMk/>
            <pc:sldMk cId="3094799509" sldId="271"/>
            <ac:grpSpMk id="14" creationId="{5BFCB361-7AC3-D0B6-C419-6D76C2A8AE51}"/>
          </ac:grpSpMkLst>
        </pc:grpChg>
        <pc:grpChg chg="add mod">
          <ac:chgData name="Leutloff, Anastasia" userId="5839b687-c4a9-4bb1-ad64-fcac478334af" providerId="ADAL" clId="{30FDD09F-E05F-4365-9399-46141A920F50}" dt="2024-06-29T20:18:37.900" v="987" actId="1036"/>
          <ac:grpSpMkLst>
            <pc:docMk/>
            <pc:sldMk cId="3094799509" sldId="271"/>
            <ac:grpSpMk id="15" creationId="{06ADFEE9-002E-F265-B25D-17DCBD329B3C}"/>
          </ac:grpSpMkLst>
        </pc:grpChg>
        <pc:grpChg chg="add mod">
          <ac:chgData name="Leutloff, Anastasia" userId="5839b687-c4a9-4bb1-ad64-fcac478334af" providerId="ADAL" clId="{30FDD09F-E05F-4365-9399-46141A920F50}" dt="2024-06-29T20:17:52.366" v="965" actId="554"/>
          <ac:grpSpMkLst>
            <pc:docMk/>
            <pc:sldMk cId="3094799509" sldId="271"/>
            <ac:grpSpMk id="16" creationId="{68385339-98A2-A6C1-8313-871667AD8FE7}"/>
          </ac:grpSpMkLst>
        </pc:grpChg>
        <pc:grpChg chg="add mod">
          <ac:chgData name="Leutloff, Anastasia" userId="5839b687-c4a9-4bb1-ad64-fcac478334af" providerId="ADAL" clId="{30FDD09F-E05F-4365-9399-46141A920F50}" dt="2024-06-29T20:18:37.900" v="987" actId="1036"/>
          <ac:grpSpMkLst>
            <pc:docMk/>
            <pc:sldMk cId="3094799509" sldId="271"/>
            <ac:grpSpMk id="17" creationId="{26D9AEB5-D5F0-5710-C631-2CE33EC957A9}"/>
          </ac:grpSpMkLst>
        </pc:grpChg>
        <pc:graphicFrameChg chg="mod">
          <ac:chgData name="Leutloff, Anastasia" userId="5839b687-c4a9-4bb1-ad64-fcac478334af" providerId="ADAL" clId="{30FDD09F-E05F-4365-9399-46141A920F50}" dt="2024-06-29T18:46:16.614" v="29"/>
          <ac:graphicFrameMkLst>
            <pc:docMk/>
            <pc:sldMk cId="3094799509" sldId="271"/>
            <ac:graphicFrameMk id="4" creationId="{F889563F-B327-9598-E381-1F26A090A219}"/>
          </ac:graphicFrameMkLst>
        </pc:graphicFrameChg>
        <pc:graphicFrameChg chg="del mod modGraphic">
          <ac:chgData name="Leutloff, Anastasia" userId="5839b687-c4a9-4bb1-ad64-fcac478334af" providerId="ADAL" clId="{30FDD09F-E05F-4365-9399-46141A920F50}" dt="2024-06-29T20:16:25.971" v="943" actId="478"/>
          <ac:graphicFrameMkLst>
            <pc:docMk/>
            <pc:sldMk cId="3094799509" sldId="271"/>
            <ac:graphicFrameMk id="5" creationId="{71526E6B-33D5-E7D6-F733-86F60F938B59}"/>
          </ac:graphicFrameMkLst>
        </pc:graphicFrameChg>
        <pc:graphicFrameChg chg="add del mod">
          <ac:chgData name="Leutloff, Anastasia" userId="5839b687-c4a9-4bb1-ad64-fcac478334af" providerId="ADAL" clId="{30FDD09F-E05F-4365-9399-46141A920F50}" dt="2024-06-29T19:17:58.519" v="48" actId="478"/>
          <ac:graphicFrameMkLst>
            <pc:docMk/>
            <pc:sldMk cId="3094799509" sldId="271"/>
            <ac:graphicFrameMk id="8" creationId="{88271F98-BFD5-3865-C2E0-6623C14B2ABD}"/>
          </ac:graphicFrameMkLst>
        </pc:graphicFrameChg>
        <pc:picChg chg="add del mod">
          <ac:chgData name="Leutloff, Anastasia" userId="5839b687-c4a9-4bb1-ad64-fcac478334af" providerId="ADAL" clId="{30FDD09F-E05F-4365-9399-46141A920F50}" dt="2024-06-29T19:07:19.273" v="43" actId="478"/>
          <ac:picMkLst>
            <pc:docMk/>
            <pc:sldMk cId="3094799509" sldId="271"/>
            <ac:picMk id="3" creationId="{FE97A301-C448-2C66-F0D5-DE99665B6934}"/>
          </ac:picMkLst>
        </pc:picChg>
        <pc:picChg chg="add mod">
          <ac:chgData name="Leutloff, Anastasia" userId="5839b687-c4a9-4bb1-ad64-fcac478334af" providerId="ADAL" clId="{30FDD09F-E05F-4365-9399-46141A920F50}" dt="2024-06-29T20:18:37.900" v="987" actId="1036"/>
          <ac:picMkLst>
            <pc:docMk/>
            <pc:sldMk cId="3094799509" sldId="271"/>
            <ac:picMk id="9" creationId="{7CBCAA1F-7841-9063-1729-27019F789F0D}"/>
          </ac:picMkLst>
        </pc:picChg>
        <pc:picChg chg="del mod">
          <ac:chgData name="Leutloff, Anastasia" userId="5839b687-c4a9-4bb1-ad64-fcac478334af" providerId="ADAL" clId="{30FDD09F-E05F-4365-9399-46141A920F50}" dt="2024-06-29T18:53:10.342" v="35" actId="478"/>
          <ac:picMkLst>
            <pc:docMk/>
            <pc:sldMk cId="3094799509" sldId="271"/>
            <ac:picMk id="37" creationId="{A2CE2A41-5FCE-E177-C78C-41015B2E1335}"/>
          </ac:picMkLst>
        </pc:picChg>
        <pc:picChg chg="add mod">
          <ac:chgData name="Leutloff, Anastasia" userId="5839b687-c4a9-4bb1-ad64-fcac478334af" providerId="ADAL" clId="{30FDD09F-E05F-4365-9399-46141A920F50}" dt="2024-06-29T20:18:37.900" v="987" actId="1036"/>
          <ac:picMkLst>
            <pc:docMk/>
            <pc:sldMk cId="3094799509" sldId="271"/>
            <ac:picMk id="5122" creationId="{8A1732B8-2F84-7162-8072-0E57E02F1238}"/>
          </ac:picMkLst>
        </pc:picChg>
        <pc:picChg chg="add mod">
          <ac:chgData name="Leutloff, Anastasia" userId="5839b687-c4a9-4bb1-ad64-fcac478334af" providerId="ADAL" clId="{30FDD09F-E05F-4365-9399-46141A920F50}" dt="2024-06-29T20:17:52.366" v="965" actId="554"/>
          <ac:picMkLst>
            <pc:docMk/>
            <pc:sldMk cId="3094799509" sldId="271"/>
            <ac:picMk id="5124" creationId="{C28EBB41-DFA2-71C3-FA5F-B144D718D143}"/>
          </ac:picMkLst>
        </pc:picChg>
        <pc:picChg chg="add mod">
          <ac:chgData name="Leutloff, Anastasia" userId="5839b687-c4a9-4bb1-ad64-fcac478334af" providerId="ADAL" clId="{30FDD09F-E05F-4365-9399-46141A920F50}" dt="2024-06-29T20:17:52.366" v="965" actId="554"/>
          <ac:picMkLst>
            <pc:docMk/>
            <pc:sldMk cId="3094799509" sldId="271"/>
            <ac:picMk id="5126" creationId="{0F227D53-781E-0EE8-E700-C3313ADCB0B2}"/>
          </ac:picMkLst>
        </pc:picChg>
        <pc:picChg chg="add mod">
          <ac:chgData name="Leutloff, Anastasia" userId="5839b687-c4a9-4bb1-ad64-fcac478334af" providerId="ADAL" clId="{30FDD09F-E05F-4365-9399-46141A920F50}" dt="2024-06-29T20:18:37.900" v="987" actId="1036"/>
          <ac:picMkLst>
            <pc:docMk/>
            <pc:sldMk cId="3094799509" sldId="271"/>
            <ac:picMk id="5128" creationId="{A9989CD4-9177-0253-49E6-2EA155555E2B}"/>
          </ac:picMkLst>
        </pc:picChg>
      </pc:sldChg>
      <pc:sldChg chg="addSp delSp modSp mod ord modAnim">
        <pc:chgData name="Leutloff, Anastasia" userId="5839b687-c4a9-4bb1-ad64-fcac478334af" providerId="ADAL" clId="{30FDD09F-E05F-4365-9399-46141A920F50}" dt="2024-06-30T12:41:12.565" v="1889"/>
        <pc:sldMkLst>
          <pc:docMk/>
          <pc:sldMk cId="508617570" sldId="272"/>
        </pc:sldMkLst>
        <pc:spChg chg="del">
          <ac:chgData name="Leutloff, Anastasia" userId="5839b687-c4a9-4bb1-ad64-fcac478334af" providerId="ADAL" clId="{30FDD09F-E05F-4365-9399-46141A920F50}" dt="2024-06-30T07:37:03.916" v="1329" actId="478"/>
          <ac:spMkLst>
            <pc:docMk/>
            <pc:sldMk cId="508617570" sldId="272"/>
            <ac:spMk id="3" creationId="{02D9DD96-00B7-7F5D-9205-6CA471F12648}"/>
          </ac:spMkLst>
        </pc:spChg>
        <pc:spChg chg="add del mod modVis">
          <ac:chgData name="Leutloff, Anastasia" userId="5839b687-c4a9-4bb1-ad64-fcac478334af" providerId="ADAL" clId="{30FDD09F-E05F-4365-9399-46141A920F50}" dt="2024-06-30T07:53:31.956" v="1398"/>
          <ac:spMkLst>
            <pc:docMk/>
            <pc:sldMk cId="508617570" sldId="272"/>
            <ac:spMk id="5" creationId="{EAEBF502-46E0-ED4C-F8EC-BFD980B3EE8F}"/>
          </ac:spMkLst>
        </pc:spChg>
        <pc:spChg chg="add del mod modVis">
          <ac:chgData name="Leutloff, Anastasia" userId="5839b687-c4a9-4bb1-ad64-fcac478334af" providerId="ADAL" clId="{30FDD09F-E05F-4365-9399-46141A920F50}" dt="2024-06-30T08:53:07.315" v="1784"/>
          <ac:spMkLst>
            <pc:docMk/>
            <pc:sldMk cId="508617570" sldId="272"/>
            <ac:spMk id="6" creationId="{1CA0A25C-86C1-CFE2-A79E-1DE585F31BE3}"/>
          </ac:spMkLst>
        </pc:spChg>
        <pc:spChg chg="add del mod modVis">
          <ac:chgData name="Leutloff, Anastasia" userId="5839b687-c4a9-4bb1-ad64-fcac478334af" providerId="ADAL" clId="{30FDD09F-E05F-4365-9399-46141A920F50}" dt="2024-06-30T07:57:02.178" v="1436"/>
          <ac:spMkLst>
            <pc:docMk/>
            <pc:sldMk cId="508617570" sldId="272"/>
            <ac:spMk id="6" creationId="{ADDCC851-B4B7-FE3D-C556-CB72AEA75480}"/>
          </ac:spMkLst>
        </pc:spChg>
        <pc:spChg chg="add del mod modVis">
          <ac:chgData name="Leutloff, Anastasia" userId="5839b687-c4a9-4bb1-ad64-fcac478334af" providerId="ADAL" clId="{30FDD09F-E05F-4365-9399-46141A920F50}" dt="2024-06-30T07:57:02.822" v="1464"/>
          <ac:spMkLst>
            <pc:docMk/>
            <pc:sldMk cId="508617570" sldId="272"/>
            <ac:spMk id="7" creationId="{7D709456-39DB-5764-AEB8-16A7F8A974E2}"/>
          </ac:spMkLst>
        </pc:spChg>
        <pc:spChg chg="add del mod modVis">
          <ac:chgData name="Leutloff, Anastasia" userId="5839b687-c4a9-4bb1-ad64-fcac478334af" providerId="ADAL" clId="{30FDD09F-E05F-4365-9399-46141A920F50}" dt="2024-06-30T08:53:17.498" v="1813"/>
          <ac:spMkLst>
            <pc:docMk/>
            <pc:sldMk cId="508617570" sldId="272"/>
            <ac:spMk id="7" creationId="{D8A76B6B-6B4C-79CF-C306-79D3A65C4D42}"/>
          </ac:spMkLst>
        </pc:spChg>
        <pc:spChg chg="add del mod modVis">
          <ac:chgData name="Leutloff, Anastasia" userId="5839b687-c4a9-4bb1-ad64-fcac478334af" providerId="ADAL" clId="{30FDD09F-E05F-4365-9399-46141A920F50}" dt="2024-06-30T08:53:21.695" v="1849"/>
          <ac:spMkLst>
            <pc:docMk/>
            <pc:sldMk cId="508617570" sldId="272"/>
            <ac:spMk id="8" creationId="{31811155-73B7-B356-CD7E-C91557E38E1F}"/>
          </ac:spMkLst>
        </pc:spChg>
        <pc:spChg chg="mod ord">
          <ac:chgData name="Leutloff, Anastasia" userId="5839b687-c4a9-4bb1-ad64-fcac478334af" providerId="ADAL" clId="{30FDD09F-E05F-4365-9399-46141A920F50}" dt="2024-06-30T08:53:21.667" v="1825"/>
          <ac:spMkLst>
            <pc:docMk/>
            <pc:sldMk cId="508617570" sldId="272"/>
            <ac:spMk id="29" creationId="{90BB3A4F-3F27-67FB-FEB7-6F896F53E27F}"/>
          </ac:spMkLst>
        </pc:spChg>
        <pc:spChg chg="del">
          <ac:chgData name="Leutloff, Anastasia" userId="5839b687-c4a9-4bb1-ad64-fcac478334af" providerId="ADAL" clId="{30FDD09F-E05F-4365-9399-46141A920F50}" dt="2024-06-30T07:37:09.992" v="1330" actId="478"/>
          <ac:spMkLst>
            <pc:docMk/>
            <pc:sldMk cId="508617570" sldId="272"/>
            <ac:spMk id="30" creationId="{8DA17B49-9E28-3B06-0F1D-81E0ACE98429}"/>
          </ac:spMkLst>
        </pc:spChg>
        <pc:graphicFrameChg chg="mod">
          <ac:chgData name="Leutloff, Anastasia" userId="5839b687-c4a9-4bb1-ad64-fcac478334af" providerId="ADAL" clId="{30FDD09F-E05F-4365-9399-46141A920F50}" dt="2024-06-30T08:53:21.697" v="1851"/>
          <ac:graphicFrameMkLst>
            <pc:docMk/>
            <pc:sldMk cId="508617570" sldId="272"/>
            <ac:graphicFrameMk id="4" creationId="{F889563F-B327-9598-E381-1F26A090A219}"/>
          </ac:graphicFrameMkLst>
        </pc:graphicFrameChg>
        <pc:picChg chg="mod ord">
          <ac:chgData name="Leutloff, Anastasia" userId="5839b687-c4a9-4bb1-ad64-fcac478334af" providerId="ADAL" clId="{30FDD09F-E05F-4365-9399-46141A920F50}" dt="2024-06-30T08:53:07.313" v="1777"/>
          <ac:picMkLst>
            <pc:docMk/>
            <pc:sldMk cId="508617570" sldId="272"/>
            <ac:picMk id="2" creationId="{1592B392-B047-342B-E690-56D2D36B15C1}"/>
          </ac:picMkLst>
        </pc:picChg>
        <pc:picChg chg="add mod ord modCrop">
          <ac:chgData name="Leutloff, Anastasia" userId="5839b687-c4a9-4bb1-ad64-fcac478334af" providerId="ADAL" clId="{30FDD09F-E05F-4365-9399-46141A920F50}" dt="2024-06-30T08:53:07.313" v="1779"/>
          <ac:picMkLst>
            <pc:docMk/>
            <pc:sldMk cId="508617570" sldId="272"/>
            <ac:picMk id="5" creationId="{348BBB0D-5488-9BE0-F231-52BA196342F9}"/>
          </ac:picMkLst>
        </pc:picChg>
        <pc:picChg chg="add mod">
          <ac:chgData name="Leutloff, Anastasia" userId="5839b687-c4a9-4bb1-ad64-fcac478334af" providerId="ADAL" clId="{30FDD09F-E05F-4365-9399-46141A920F50}" dt="2024-06-30T08:53:07.313" v="1780"/>
          <ac:picMkLst>
            <pc:docMk/>
            <pc:sldMk cId="508617570" sldId="272"/>
            <ac:picMk id="1026" creationId="{AFE503BF-C221-CB0A-F994-5454DAD8E7D7}"/>
          </ac:picMkLst>
        </pc:picChg>
        <pc:picChg chg="add del mod">
          <ac:chgData name="Leutloff, Anastasia" userId="5839b687-c4a9-4bb1-ad64-fcac478334af" providerId="ADAL" clId="{30FDD09F-E05F-4365-9399-46141A920F50}" dt="2024-06-30T08:52:03.419" v="1738" actId="478"/>
          <ac:picMkLst>
            <pc:docMk/>
            <pc:sldMk cId="508617570" sldId="272"/>
            <ac:picMk id="1028" creationId="{6909F74A-C9DF-3915-E193-F52A86ADC88C}"/>
          </ac:picMkLst>
        </pc:picChg>
      </pc:sldChg>
      <pc:sldChg chg="addSp delSp modSp mod modNotesTx">
        <pc:chgData name="Leutloff, Anastasia" userId="5839b687-c4a9-4bb1-ad64-fcac478334af" providerId="ADAL" clId="{30FDD09F-E05F-4365-9399-46141A920F50}" dt="2024-06-30T07:57:28.648" v="1526" actId="14100"/>
        <pc:sldMkLst>
          <pc:docMk/>
          <pc:sldMk cId="3085656197" sldId="273"/>
        </pc:sldMkLst>
        <pc:spChg chg="mod">
          <ac:chgData name="Leutloff, Anastasia" userId="5839b687-c4a9-4bb1-ad64-fcac478334af" providerId="ADAL" clId="{30FDD09F-E05F-4365-9399-46141A920F50}" dt="2024-06-29T20:20:10.737" v="1115" actId="1037"/>
          <ac:spMkLst>
            <pc:docMk/>
            <pc:sldMk cId="3085656197" sldId="273"/>
            <ac:spMk id="14" creationId="{780B7908-E6C0-71F5-AC9E-04EDDA1A2FD4}"/>
          </ac:spMkLst>
        </pc:spChg>
        <pc:spChg chg="mod">
          <ac:chgData name="Leutloff, Anastasia" userId="5839b687-c4a9-4bb1-ad64-fcac478334af" providerId="ADAL" clId="{30FDD09F-E05F-4365-9399-46141A920F50}" dt="2024-06-29T20:20:10.737" v="1115" actId="1037"/>
          <ac:spMkLst>
            <pc:docMk/>
            <pc:sldMk cId="3085656197" sldId="273"/>
            <ac:spMk id="15" creationId="{3F471C1C-BEFF-56AF-995B-07610970824C}"/>
          </ac:spMkLst>
        </pc:spChg>
        <pc:spChg chg="mod">
          <ac:chgData name="Leutloff, Anastasia" userId="5839b687-c4a9-4bb1-ad64-fcac478334af" providerId="ADAL" clId="{30FDD09F-E05F-4365-9399-46141A920F50}" dt="2024-06-29T20:20:10.737" v="1115" actId="1037"/>
          <ac:spMkLst>
            <pc:docMk/>
            <pc:sldMk cId="3085656197" sldId="273"/>
            <ac:spMk id="16" creationId="{DF0E4B0E-82A2-3FB4-AC93-17B6B1413F68}"/>
          </ac:spMkLst>
        </pc:spChg>
        <pc:spChg chg="mod">
          <ac:chgData name="Leutloff, Anastasia" userId="5839b687-c4a9-4bb1-ad64-fcac478334af" providerId="ADAL" clId="{30FDD09F-E05F-4365-9399-46141A920F50}" dt="2024-06-29T20:20:10.737" v="1115" actId="1037"/>
          <ac:spMkLst>
            <pc:docMk/>
            <pc:sldMk cId="3085656197" sldId="273"/>
            <ac:spMk id="17" creationId="{85F86AAA-1905-5F1F-E71F-0106FC9533E7}"/>
          </ac:spMkLst>
        </pc:spChg>
        <pc:spChg chg="mod">
          <ac:chgData name="Leutloff, Anastasia" userId="5839b687-c4a9-4bb1-ad64-fcac478334af" providerId="ADAL" clId="{30FDD09F-E05F-4365-9399-46141A920F50}" dt="2024-06-29T20:20:10.737" v="1115" actId="1037"/>
          <ac:spMkLst>
            <pc:docMk/>
            <pc:sldMk cId="3085656197" sldId="273"/>
            <ac:spMk id="18" creationId="{9FBADBB0-6D0B-99C7-21DD-473363842D27}"/>
          </ac:spMkLst>
        </pc:spChg>
        <pc:graphicFrameChg chg="mod modGraphic">
          <ac:chgData name="Leutloff, Anastasia" userId="5839b687-c4a9-4bb1-ad64-fcac478334af" providerId="ADAL" clId="{30FDD09F-E05F-4365-9399-46141A920F50}" dt="2024-06-30T07:57:28.648" v="1526" actId="14100"/>
          <ac:graphicFrameMkLst>
            <pc:docMk/>
            <pc:sldMk cId="3085656197" sldId="273"/>
            <ac:graphicFrameMk id="6" creationId="{E1AB2FA2-7ED9-ED7A-64C4-A38025109FF0}"/>
          </ac:graphicFrameMkLst>
        </pc:graphicFrameChg>
        <pc:picChg chg="add del mod">
          <ac:chgData name="Leutloff, Anastasia" userId="5839b687-c4a9-4bb1-ad64-fcac478334af" providerId="ADAL" clId="{30FDD09F-E05F-4365-9399-46141A920F50}" dt="2024-06-29T19:46:39.372" v="271" actId="478"/>
          <ac:picMkLst>
            <pc:docMk/>
            <pc:sldMk cId="3085656197" sldId="273"/>
            <ac:picMk id="3074" creationId="{622AB6DE-F258-293F-A166-11F465F7FC96}"/>
          </ac:picMkLst>
        </pc:picChg>
        <pc:picChg chg="add mod">
          <ac:chgData name="Leutloff, Anastasia" userId="5839b687-c4a9-4bb1-ad64-fcac478334af" providerId="ADAL" clId="{30FDD09F-E05F-4365-9399-46141A920F50}" dt="2024-06-29T20:32:22.276" v="1302" actId="1036"/>
          <ac:picMkLst>
            <pc:docMk/>
            <pc:sldMk cId="3085656197" sldId="273"/>
            <ac:picMk id="3076" creationId="{8CE7D274-0FB8-D7FA-E8B3-91B73DC71E84}"/>
          </ac:picMkLst>
        </pc:picChg>
        <pc:picChg chg="add mod">
          <ac:chgData name="Leutloff, Anastasia" userId="5839b687-c4a9-4bb1-ad64-fcac478334af" providerId="ADAL" clId="{30FDD09F-E05F-4365-9399-46141A920F50}" dt="2024-06-29T20:32:22.276" v="1302" actId="1036"/>
          <ac:picMkLst>
            <pc:docMk/>
            <pc:sldMk cId="3085656197" sldId="273"/>
            <ac:picMk id="3078" creationId="{EB793ED2-77C7-BB5D-4360-DD721BB4A39F}"/>
          </ac:picMkLst>
        </pc:picChg>
        <pc:picChg chg="add mod">
          <ac:chgData name="Leutloff, Anastasia" userId="5839b687-c4a9-4bb1-ad64-fcac478334af" providerId="ADAL" clId="{30FDD09F-E05F-4365-9399-46141A920F50}" dt="2024-06-29T20:32:22.276" v="1302" actId="1036"/>
          <ac:picMkLst>
            <pc:docMk/>
            <pc:sldMk cId="3085656197" sldId="273"/>
            <ac:picMk id="3080" creationId="{68AFE7E2-7319-EADA-ED00-078C4ABFF98A}"/>
          </ac:picMkLst>
        </pc:picChg>
        <pc:picChg chg="add mod">
          <ac:chgData name="Leutloff, Anastasia" userId="5839b687-c4a9-4bb1-ad64-fcac478334af" providerId="ADAL" clId="{30FDD09F-E05F-4365-9399-46141A920F50}" dt="2024-06-29T20:32:22.276" v="1302" actId="1036"/>
          <ac:picMkLst>
            <pc:docMk/>
            <pc:sldMk cId="3085656197" sldId="273"/>
            <ac:picMk id="3082" creationId="{E7E7CD56-4024-2327-8BA2-71F6648F870F}"/>
          </ac:picMkLst>
        </pc:picChg>
        <pc:picChg chg="add mod">
          <ac:chgData name="Leutloff, Anastasia" userId="5839b687-c4a9-4bb1-ad64-fcac478334af" providerId="ADAL" clId="{30FDD09F-E05F-4365-9399-46141A920F50}" dt="2024-06-29T20:32:22.276" v="1302" actId="1036"/>
          <ac:picMkLst>
            <pc:docMk/>
            <pc:sldMk cId="3085656197" sldId="273"/>
            <ac:picMk id="3084" creationId="{A9697DB4-B160-E4DC-B93D-647BD64E9EE3}"/>
          </ac:picMkLst>
        </pc:picChg>
      </pc:sldChg>
      <pc:sldChg chg="addSp delSp modSp add mod ord">
        <pc:chgData name="Leutloff, Anastasia" userId="5839b687-c4a9-4bb1-ad64-fcac478334af" providerId="ADAL" clId="{30FDD09F-E05F-4365-9399-46141A920F50}" dt="2024-06-30T08:46:18.369" v="1724" actId="1076"/>
        <pc:sldMkLst>
          <pc:docMk/>
          <pc:sldMk cId="1414399013" sldId="278"/>
        </pc:sldMkLst>
        <pc:spChg chg="del mod">
          <ac:chgData name="Leutloff, Anastasia" userId="5839b687-c4a9-4bb1-ad64-fcac478334af" providerId="ADAL" clId="{30FDD09F-E05F-4365-9399-46141A920F50}" dt="2024-06-30T08:33:11.450" v="1638" actId="478"/>
          <ac:spMkLst>
            <pc:docMk/>
            <pc:sldMk cId="1414399013" sldId="278"/>
            <ac:spMk id="2" creationId="{70B14845-EE5F-9F77-185F-74A957A35704}"/>
          </ac:spMkLst>
        </pc:spChg>
        <pc:spChg chg="add del mod modVis">
          <ac:chgData name="Leutloff, Anastasia" userId="5839b687-c4a9-4bb1-ad64-fcac478334af" providerId="ADAL" clId="{30FDD09F-E05F-4365-9399-46141A920F50}" dt="2024-06-30T08:16:24.449" v="1555"/>
          <ac:spMkLst>
            <pc:docMk/>
            <pc:sldMk cId="1414399013" sldId="278"/>
            <ac:spMk id="3" creationId="{CDCE3F7B-E56A-7027-8BD7-AC5CF7FC284C}"/>
          </ac:spMkLst>
        </pc:spChg>
        <pc:spChg chg="add del mod modVis">
          <ac:chgData name="Leutloff, Anastasia" userId="5839b687-c4a9-4bb1-ad64-fcac478334af" providerId="ADAL" clId="{30FDD09F-E05F-4365-9399-46141A920F50}" dt="2024-06-30T08:16:27.980" v="1583"/>
          <ac:spMkLst>
            <pc:docMk/>
            <pc:sldMk cId="1414399013" sldId="278"/>
            <ac:spMk id="5" creationId="{EBF4877D-4895-2B29-42CC-37D54D0930D9}"/>
          </ac:spMkLst>
        </pc:spChg>
        <pc:spChg chg="add del mod modVis">
          <ac:chgData name="Leutloff, Anastasia" userId="5839b687-c4a9-4bb1-ad64-fcac478334af" providerId="ADAL" clId="{30FDD09F-E05F-4365-9399-46141A920F50}" dt="2024-06-30T08:32:52.134" v="1611"/>
          <ac:spMkLst>
            <pc:docMk/>
            <pc:sldMk cId="1414399013" sldId="278"/>
            <ac:spMk id="6" creationId="{64EC662E-4794-F9D1-A048-A505160F7C1B}"/>
          </ac:spMkLst>
        </pc:spChg>
        <pc:spChg chg="add mod">
          <ac:chgData name="Leutloff, Anastasia" userId="5839b687-c4a9-4bb1-ad64-fcac478334af" providerId="ADAL" clId="{30FDD09F-E05F-4365-9399-46141A920F50}" dt="2024-06-30T08:35:04.594" v="1678" actId="313"/>
          <ac:spMkLst>
            <pc:docMk/>
            <pc:sldMk cId="1414399013" sldId="278"/>
            <ac:spMk id="8" creationId="{13B29199-4892-9D19-38B8-8D02FA20FAE0}"/>
          </ac:spMkLst>
        </pc:spChg>
        <pc:spChg chg="add del mod">
          <ac:chgData name="Leutloff, Anastasia" userId="5839b687-c4a9-4bb1-ad64-fcac478334af" providerId="ADAL" clId="{30FDD09F-E05F-4365-9399-46141A920F50}" dt="2024-06-30T08:33:14.055" v="1643" actId="478"/>
          <ac:spMkLst>
            <pc:docMk/>
            <pc:sldMk cId="1414399013" sldId="278"/>
            <ac:spMk id="10" creationId="{1668E58E-AE6D-47B6-DD45-023DAEE7DCD6}"/>
          </ac:spMkLst>
        </pc:spChg>
        <pc:graphicFrameChg chg="mod">
          <ac:chgData name="Leutloff, Anastasia" userId="5839b687-c4a9-4bb1-ad64-fcac478334af" providerId="ADAL" clId="{30FDD09F-E05F-4365-9399-46141A920F50}" dt="2024-06-30T08:33:14.577" v="1647"/>
          <ac:graphicFrameMkLst>
            <pc:docMk/>
            <pc:sldMk cId="1414399013" sldId="278"/>
            <ac:graphicFrameMk id="4" creationId="{44FF6268-4B74-E1B5-D09E-35B55D6DB115}"/>
          </ac:graphicFrameMkLst>
        </pc:graphicFrameChg>
        <pc:graphicFrameChg chg="add mod modGraphic">
          <ac:chgData name="Leutloff, Anastasia" userId="5839b687-c4a9-4bb1-ad64-fcac478334af" providerId="ADAL" clId="{30FDD09F-E05F-4365-9399-46141A920F50}" dt="2024-06-30T08:46:18.369" v="1724" actId="1076"/>
          <ac:graphicFrameMkLst>
            <pc:docMk/>
            <pc:sldMk cId="1414399013" sldId="278"/>
            <ac:graphicFrameMk id="7" creationId="{484CD7F7-04F0-0886-F599-64FA348C00C4}"/>
          </ac:graphicFrameMkLst>
        </pc:graphicFrameChg>
      </pc:sldChg>
      <pc:sldChg chg="new del">
        <pc:chgData name="Leutloff, Anastasia" userId="5839b687-c4a9-4bb1-ad64-fcac478334af" providerId="ADAL" clId="{30FDD09F-E05F-4365-9399-46141A920F50}" dt="2024-06-29T18:54:44.871" v="41" actId="47"/>
        <pc:sldMkLst>
          <pc:docMk/>
          <pc:sldMk cId="1579152603" sldId="278"/>
        </pc:sldMkLst>
      </pc:sldChg>
      <pc:sldChg chg="addSp delSp modSp add mod">
        <pc:chgData name="Leutloff, Anastasia" userId="5839b687-c4a9-4bb1-ad64-fcac478334af" providerId="ADAL" clId="{30FDD09F-E05F-4365-9399-46141A920F50}" dt="2024-06-30T08:50:13.945" v="1734" actId="14100"/>
        <pc:sldMkLst>
          <pc:docMk/>
          <pc:sldMk cId="2962535859" sldId="279"/>
        </pc:sldMkLst>
        <pc:spChg chg="add mod">
          <ac:chgData name="Leutloff, Anastasia" userId="5839b687-c4a9-4bb1-ad64-fcac478334af" providerId="ADAL" clId="{30FDD09F-E05F-4365-9399-46141A920F50}" dt="2024-06-30T08:50:13.945" v="1734" actId="14100"/>
          <ac:spMkLst>
            <pc:docMk/>
            <pc:sldMk cId="2962535859" sldId="279"/>
            <ac:spMk id="5" creationId="{BEBA8BEF-C17F-FF2E-81B4-F37E09DD8E76}"/>
          </ac:spMkLst>
        </pc:spChg>
        <pc:graphicFrameChg chg="del">
          <ac:chgData name="Leutloff, Anastasia" userId="5839b687-c4a9-4bb1-ad64-fcac478334af" providerId="ADAL" clId="{30FDD09F-E05F-4365-9399-46141A920F50}" dt="2024-06-30T08:49:15.989" v="1726" actId="478"/>
          <ac:graphicFrameMkLst>
            <pc:docMk/>
            <pc:sldMk cId="2962535859" sldId="279"/>
            <ac:graphicFrameMk id="7" creationId="{484CD7F7-04F0-0886-F599-64FA348C00C4}"/>
          </ac:graphicFrameMkLst>
        </pc:graphicFrameChg>
        <pc:picChg chg="add mod">
          <ac:chgData name="Leutloff, Anastasia" userId="5839b687-c4a9-4bb1-ad64-fcac478334af" providerId="ADAL" clId="{30FDD09F-E05F-4365-9399-46141A920F50}" dt="2024-06-30T08:49:47.002" v="1730" actId="1076"/>
          <ac:picMkLst>
            <pc:docMk/>
            <pc:sldMk cId="2962535859" sldId="279"/>
            <ac:picMk id="3" creationId="{E9D59A90-602D-9F10-0C4F-8D81B1707899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D3C8278-D8B2-4B9D-96EF-BA3C9A048273}" type="doc">
      <dgm:prSet loTypeId="urn:microsoft.com/office/officeart/2005/8/layout/arrow2" loCatId="process" qsTypeId="urn:microsoft.com/office/officeart/2005/8/quickstyle/3d4" qsCatId="3D" csTypeId="urn:microsoft.com/office/officeart/2005/8/colors/accent6_3" csCatId="accent6" phldr="1"/>
      <dgm:spPr/>
      <dgm:t>
        <a:bodyPr/>
        <a:lstStyle/>
        <a:p>
          <a:endParaRPr lang="en-US"/>
        </a:p>
      </dgm:t>
    </dgm:pt>
    <dgm:pt modelId="{A3E0BAE9-15FB-435A-83A2-F3E76F38A41F}">
      <dgm:prSet phldrT="[Text]"/>
      <dgm:spPr/>
      <dgm:t>
        <a:bodyPr/>
        <a:lstStyle/>
        <a:p>
          <a:r>
            <a:rPr lang="en-US" b="0" dirty="0"/>
            <a:t>Read PDF</a:t>
          </a:r>
        </a:p>
      </dgm:t>
    </dgm:pt>
    <dgm:pt modelId="{190FB590-9AC2-4D3F-85EA-231FAE7528A1}" type="parTrans" cxnId="{B9F29D80-6F33-44AC-8357-E7CEED53FD2C}">
      <dgm:prSet/>
      <dgm:spPr/>
      <dgm:t>
        <a:bodyPr/>
        <a:lstStyle/>
        <a:p>
          <a:endParaRPr lang="en-US" b="0"/>
        </a:p>
      </dgm:t>
    </dgm:pt>
    <dgm:pt modelId="{92571535-AEAC-447D-AA5A-B5C8AB247E0F}" type="sibTrans" cxnId="{B9F29D80-6F33-44AC-8357-E7CEED53FD2C}">
      <dgm:prSet/>
      <dgm:spPr/>
      <dgm:t>
        <a:bodyPr/>
        <a:lstStyle/>
        <a:p>
          <a:endParaRPr lang="en-US" b="0"/>
        </a:p>
      </dgm:t>
    </dgm:pt>
    <dgm:pt modelId="{50B5727B-8671-4E8E-9549-4BF07F9EE600}">
      <dgm:prSet phldrT="[Text]"/>
      <dgm:spPr/>
      <dgm:t>
        <a:bodyPr/>
        <a:lstStyle/>
        <a:p>
          <a:r>
            <a:rPr lang="en-US" b="0" dirty="0"/>
            <a:t>Convert PDF to text</a:t>
          </a:r>
        </a:p>
      </dgm:t>
    </dgm:pt>
    <dgm:pt modelId="{884AB475-059C-4C56-9397-F55206373AAA}" type="parTrans" cxnId="{366C9084-78F5-468A-B4B7-F30F440E058D}">
      <dgm:prSet/>
      <dgm:spPr/>
      <dgm:t>
        <a:bodyPr/>
        <a:lstStyle/>
        <a:p>
          <a:endParaRPr lang="en-US" b="0"/>
        </a:p>
      </dgm:t>
    </dgm:pt>
    <dgm:pt modelId="{C2CE5193-DC76-42A0-98C7-E14ED0576DA3}" type="sibTrans" cxnId="{366C9084-78F5-468A-B4B7-F30F440E058D}">
      <dgm:prSet/>
      <dgm:spPr/>
      <dgm:t>
        <a:bodyPr/>
        <a:lstStyle/>
        <a:p>
          <a:endParaRPr lang="en-US" b="0"/>
        </a:p>
      </dgm:t>
    </dgm:pt>
    <dgm:pt modelId="{7078F112-840C-4110-B19D-8C387904651D}">
      <dgm:prSet phldrT="[Text]"/>
      <dgm:spPr/>
      <dgm:t>
        <a:bodyPr/>
        <a:lstStyle/>
        <a:p>
          <a:r>
            <a:rPr lang="en-US" b="0" dirty="0"/>
            <a:t>Split text into sections</a:t>
          </a:r>
        </a:p>
      </dgm:t>
    </dgm:pt>
    <dgm:pt modelId="{3CF15F73-D5E4-4DE6-9797-2221D96B45EC}" type="parTrans" cxnId="{6B8226DB-383C-46D5-B914-74641C6F1814}">
      <dgm:prSet/>
      <dgm:spPr/>
      <dgm:t>
        <a:bodyPr/>
        <a:lstStyle/>
        <a:p>
          <a:endParaRPr lang="en-US" b="0"/>
        </a:p>
      </dgm:t>
    </dgm:pt>
    <dgm:pt modelId="{8161165C-4D74-41EA-860C-1085291629C1}" type="sibTrans" cxnId="{6B8226DB-383C-46D5-B914-74641C6F1814}">
      <dgm:prSet/>
      <dgm:spPr/>
      <dgm:t>
        <a:bodyPr/>
        <a:lstStyle/>
        <a:p>
          <a:endParaRPr lang="en-US" b="0"/>
        </a:p>
      </dgm:t>
    </dgm:pt>
    <dgm:pt modelId="{F7AB2987-70EB-4FA2-A5D9-01F210A80C16}">
      <dgm:prSet phldrT="[Text]"/>
      <dgm:spPr/>
      <dgm:t>
        <a:bodyPr/>
        <a:lstStyle/>
        <a:p>
          <a:r>
            <a:rPr lang="en-US" b="0" dirty="0"/>
            <a:t>Identify relevant sections</a:t>
          </a:r>
        </a:p>
      </dgm:t>
    </dgm:pt>
    <dgm:pt modelId="{AF5C63DE-C8D1-407A-9CD3-B97594728F9F}" type="parTrans" cxnId="{00FD6C10-2D3F-4E39-B410-403AA56E471B}">
      <dgm:prSet/>
      <dgm:spPr/>
      <dgm:t>
        <a:bodyPr/>
        <a:lstStyle/>
        <a:p>
          <a:endParaRPr lang="en-US" b="0"/>
        </a:p>
      </dgm:t>
    </dgm:pt>
    <dgm:pt modelId="{A53D9D3B-56CE-4B0B-9FF3-33CF2B1CB455}" type="sibTrans" cxnId="{00FD6C10-2D3F-4E39-B410-403AA56E471B}">
      <dgm:prSet/>
      <dgm:spPr/>
      <dgm:t>
        <a:bodyPr/>
        <a:lstStyle/>
        <a:p>
          <a:endParaRPr lang="en-US" b="0"/>
        </a:p>
      </dgm:t>
    </dgm:pt>
    <dgm:pt modelId="{4181F41D-159A-465A-BDFF-BB0A96995793}">
      <dgm:prSet phldrT="[Text]"/>
      <dgm:spPr/>
      <dgm:t>
        <a:bodyPr/>
        <a:lstStyle/>
        <a:p>
          <a:r>
            <a:rPr lang="en-US" b="0" dirty="0"/>
            <a:t>Generate answers from the text</a:t>
          </a:r>
        </a:p>
      </dgm:t>
    </dgm:pt>
    <dgm:pt modelId="{28A9078F-C228-4096-922A-74372B184D2C}" type="parTrans" cxnId="{B94A209B-7CBD-46E0-916D-E9B15973F340}">
      <dgm:prSet/>
      <dgm:spPr/>
      <dgm:t>
        <a:bodyPr/>
        <a:lstStyle/>
        <a:p>
          <a:endParaRPr lang="en-US" b="0"/>
        </a:p>
      </dgm:t>
    </dgm:pt>
    <dgm:pt modelId="{694A9BAB-BD75-49C0-8974-CD2D8CF38348}" type="sibTrans" cxnId="{B94A209B-7CBD-46E0-916D-E9B15973F340}">
      <dgm:prSet/>
      <dgm:spPr/>
      <dgm:t>
        <a:bodyPr/>
        <a:lstStyle/>
        <a:p>
          <a:endParaRPr lang="en-US" b="0"/>
        </a:p>
      </dgm:t>
    </dgm:pt>
    <dgm:pt modelId="{03A2F405-93CE-416A-82E7-503E46BDEFC3}" type="pres">
      <dgm:prSet presAssocID="{CD3C8278-D8B2-4B9D-96EF-BA3C9A048273}" presName="arrowDiagram" presStyleCnt="0">
        <dgm:presLayoutVars>
          <dgm:chMax val="5"/>
          <dgm:dir/>
          <dgm:resizeHandles val="exact"/>
        </dgm:presLayoutVars>
      </dgm:prSet>
      <dgm:spPr/>
    </dgm:pt>
    <dgm:pt modelId="{B91E1516-24EB-4671-9148-712DE6FC3AA1}" type="pres">
      <dgm:prSet presAssocID="{CD3C8278-D8B2-4B9D-96EF-BA3C9A048273}" presName="arrow" presStyleLbl="bgShp" presStyleIdx="0" presStyleCnt="1"/>
      <dgm:spPr/>
    </dgm:pt>
    <dgm:pt modelId="{C28BC59D-AE18-418A-89EB-2D00F880E5C1}" type="pres">
      <dgm:prSet presAssocID="{CD3C8278-D8B2-4B9D-96EF-BA3C9A048273}" presName="arrowDiagram5" presStyleCnt="0"/>
      <dgm:spPr/>
    </dgm:pt>
    <dgm:pt modelId="{10594A76-B438-4335-8016-F43852A54D79}" type="pres">
      <dgm:prSet presAssocID="{A3E0BAE9-15FB-435A-83A2-F3E76F38A41F}" presName="bullet5a" presStyleLbl="node1" presStyleIdx="0" presStyleCnt="5"/>
      <dgm:spPr/>
    </dgm:pt>
    <dgm:pt modelId="{646D780C-44BE-462A-BD8A-95998805AA80}" type="pres">
      <dgm:prSet presAssocID="{A3E0BAE9-15FB-435A-83A2-F3E76F38A41F}" presName="textBox5a" presStyleLbl="revTx" presStyleIdx="0" presStyleCnt="5">
        <dgm:presLayoutVars>
          <dgm:bulletEnabled val="1"/>
        </dgm:presLayoutVars>
      </dgm:prSet>
      <dgm:spPr/>
    </dgm:pt>
    <dgm:pt modelId="{9E45B2B1-6DDD-4A63-BFD7-329A4603B95C}" type="pres">
      <dgm:prSet presAssocID="{50B5727B-8671-4E8E-9549-4BF07F9EE600}" presName="bullet5b" presStyleLbl="node1" presStyleIdx="1" presStyleCnt="5"/>
      <dgm:spPr/>
    </dgm:pt>
    <dgm:pt modelId="{98386A2B-C12A-4697-87B0-9716B2D66D6F}" type="pres">
      <dgm:prSet presAssocID="{50B5727B-8671-4E8E-9549-4BF07F9EE600}" presName="textBox5b" presStyleLbl="revTx" presStyleIdx="1" presStyleCnt="5">
        <dgm:presLayoutVars>
          <dgm:bulletEnabled val="1"/>
        </dgm:presLayoutVars>
      </dgm:prSet>
      <dgm:spPr/>
    </dgm:pt>
    <dgm:pt modelId="{0F6E54D4-B258-4272-8753-4DB38C1666EC}" type="pres">
      <dgm:prSet presAssocID="{7078F112-840C-4110-B19D-8C387904651D}" presName="bullet5c" presStyleLbl="node1" presStyleIdx="2" presStyleCnt="5"/>
      <dgm:spPr/>
    </dgm:pt>
    <dgm:pt modelId="{A7F1CB2A-7670-4CC6-96FE-12217B4175EA}" type="pres">
      <dgm:prSet presAssocID="{7078F112-840C-4110-B19D-8C387904651D}" presName="textBox5c" presStyleLbl="revTx" presStyleIdx="2" presStyleCnt="5">
        <dgm:presLayoutVars>
          <dgm:bulletEnabled val="1"/>
        </dgm:presLayoutVars>
      </dgm:prSet>
      <dgm:spPr/>
    </dgm:pt>
    <dgm:pt modelId="{9BDB8A41-69DE-4B72-B779-465A526B0FF1}" type="pres">
      <dgm:prSet presAssocID="{F7AB2987-70EB-4FA2-A5D9-01F210A80C16}" presName="bullet5d" presStyleLbl="node1" presStyleIdx="3" presStyleCnt="5"/>
      <dgm:spPr/>
    </dgm:pt>
    <dgm:pt modelId="{A9D0E857-CFF6-4A4D-9159-2489D0550BE4}" type="pres">
      <dgm:prSet presAssocID="{F7AB2987-70EB-4FA2-A5D9-01F210A80C16}" presName="textBox5d" presStyleLbl="revTx" presStyleIdx="3" presStyleCnt="5">
        <dgm:presLayoutVars>
          <dgm:bulletEnabled val="1"/>
        </dgm:presLayoutVars>
      </dgm:prSet>
      <dgm:spPr/>
    </dgm:pt>
    <dgm:pt modelId="{6966C44C-67B0-4DB9-9633-BC31012429A0}" type="pres">
      <dgm:prSet presAssocID="{4181F41D-159A-465A-BDFF-BB0A96995793}" presName="bullet5e" presStyleLbl="node1" presStyleIdx="4" presStyleCnt="5"/>
      <dgm:spPr/>
    </dgm:pt>
    <dgm:pt modelId="{C3C0C899-F220-4C85-9E44-FA9058CE8B4D}" type="pres">
      <dgm:prSet presAssocID="{4181F41D-159A-465A-BDFF-BB0A96995793}" presName="textBox5e" presStyleLbl="revTx" presStyleIdx="4" presStyleCnt="5">
        <dgm:presLayoutVars>
          <dgm:bulletEnabled val="1"/>
        </dgm:presLayoutVars>
      </dgm:prSet>
      <dgm:spPr/>
    </dgm:pt>
  </dgm:ptLst>
  <dgm:cxnLst>
    <dgm:cxn modelId="{00FD6C10-2D3F-4E39-B410-403AA56E471B}" srcId="{CD3C8278-D8B2-4B9D-96EF-BA3C9A048273}" destId="{F7AB2987-70EB-4FA2-A5D9-01F210A80C16}" srcOrd="3" destOrd="0" parTransId="{AF5C63DE-C8D1-407A-9CD3-B97594728F9F}" sibTransId="{A53D9D3B-56CE-4B0B-9FF3-33CF2B1CB455}"/>
    <dgm:cxn modelId="{58E92826-60C3-4EE3-8195-22B3AAE9878C}" type="presOf" srcId="{F7AB2987-70EB-4FA2-A5D9-01F210A80C16}" destId="{A9D0E857-CFF6-4A4D-9159-2489D0550BE4}" srcOrd="0" destOrd="0" presId="urn:microsoft.com/office/officeart/2005/8/layout/arrow2"/>
    <dgm:cxn modelId="{CC195A65-DCA0-473A-BC50-EEECC35F07CE}" type="presOf" srcId="{7078F112-840C-4110-B19D-8C387904651D}" destId="{A7F1CB2A-7670-4CC6-96FE-12217B4175EA}" srcOrd="0" destOrd="0" presId="urn:microsoft.com/office/officeart/2005/8/layout/arrow2"/>
    <dgm:cxn modelId="{C494577E-BB32-4169-9594-2CBC2C9041B9}" type="presOf" srcId="{CD3C8278-D8B2-4B9D-96EF-BA3C9A048273}" destId="{03A2F405-93CE-416A-82E7-503E46BDEFC3}" srcOrd="0" destOrd="0" presId="urn:microsoft.com/office/officeart/2005/8/layout/arrow2"/>
    <dgm:cxn modelId="{B9F29D80-6F33-44AC-8357-E7CEED53FD2C}" srcId="{CD3C8278-D8B2-4B9D-96EF-BA3C9A048273}" destId="{A3E0BAE9-15FB-435A-83A2-F3E76F38A41F}" srcOrd="0" destOrd="0" parTransId="{190FB590-9AC2-4D3F-85EA-231FAE7528A1}" sibTransId="{92571535-AEAC-447D-AA5A-B5C8AB247E0F}"/>
    <dgm:cxn modelId="{366C9084-78F5-468A-B4B7-F30F440E058D}" srcId="{CD3C8278-D8B2-4B9D-96EF-BA3C9A048273}" destId="{50B5727B-8671-4E8E-9549-4BF07F9EE600}" srcOrd="1" destOrd="0" parTransId="{884AB475-059C-4C56-9397-F55206373AAA}" sibTransId="{C2CE5193-DC76-42A0-98C7-E14ED0576DA3}"/>
    <dgm:cxn modelId="{E85E9696-ABE0-4D2C-98E1-DB65DBEAAB3E}" type="presOf" srcId="{4181F41D-159A-465A-BDFF-BB0A96995793}" destId="{C3C0C899-F220-4C85-9E44-FA9058CE8B4D}" srcOrd="0" destOrd="0" presId="urn:microsoft.com/office/officeart/2005/8/layout/arrow2"/>
    <dgm:cxn modelId="{B94A209B-7CBD-46E0-916D-E9B15973F340}" srcId="{CD3C8278-D8B2-4B9D-96EF-BA3C9A048273}" destId="{4181F41D-159A-465A-BDFF-BB0A96995793}" srcOrd="4" destOrd="0" parTransId="{28A9078F-C228-4096-922A-74372B184D2C}" sibTransId="{694A9BAB-BD75-49C0-8974-CD2D8CF38348}"/>
    <dgm:cxn modelId="{41753DAC-0B7C-46B1-A194-457D1F3FAEA8}" type="presOf" srcId="{50B5727B-8671-4E8E-9549-4BF07F9EE600}" destId="{98386A2B-C12A-4697-87B0-9716B2D66D6F}" srcOrd="0" destOrd="0" presId="urn:microsoft.com/office/officeart/2005/8/layout/arrow2"/>
    <dgm:cxn modelId="{DD5049B7-37A2-4F6A-AD19-2A44D4E4FD53}" type="presOf" srcId="{A3E0BAE9-15FB-435A-83A2-F3E76F38A41F}" destId="{646D780C-44BE-462A-BD8A-95998805AA80}" srcOrd="0" destOrd="0" presId="urn:microsoft.com/office/officeart/2005/8/layout/arrow2"/>
    <dgm:cxn modelId="{6B8226DB-383C-46D5-B914-74641C6F1814}" srcId="{CD3C8278-D8B2-4B9D-96EF-BA3C9A048273}" destId="{7078F112-840C-4110-B19D-8C387904651D}" srcOrd="2" destOrd="0" parTransId="{3CF15F73-D5E4-4DE6-9797-2221D96B45EC}" sibTransId="{8161165C-4D74-41EA-860C-1085291629C1}"/>
    <dgm:cxn modelId="{303BFD39-6114-4AEF-A7EA-465728175C25}" type="presParOf" srcId="{03A2F405-93CE-416A-82E7-503E46BDEFC3}" destId="{B91E1516-24EB-4671-9148-712DE6FC3AA1}" srcOrd="0" destOrd="0" presId="urn:microsoft.com/office/officeart/2005/8/layout/arrow2"/>
    <dgm:cxn modelId="{FACF51F1-3759-4517-A052-71869465D7F9}" type="presParOf" srcId="{03A2F405-93CE-416A-82E7-503E46BDEFC3}" destId="{C28BC59D-AE18-418A-89EB-2D00F880E5C1}" srcOrd="1" destOrd="0" presId="urn:microsoft.com/office/officeart/2005/8/layout/arrow2"/>
    <dgm:cxn modelId="{D9605877-4070-434D-B4F3-E6FAC686AB5E}" type="presParOf" srcId="{C28BC59D-AE18-418A-89EB-2D00F880E5C1}" destId="{10594A76-B438-4335-8016-F43852A54D79}" srcOrd="0" destOrd="0" presId="urn:microsoft.com/office/officeart/2005/8/layout/arrow2"/>
    <dgm:cxn modelId="{BB0C3A13-AE02-4CEC-9CE7-036103D9B72A}" type="presParOf" srcId="{C28BC59D-AE18-418A-89EB-2D00F880E5C1}" destId="{646D780C-44BE-462A-BD8A-95998805AA80}" srcOrd="1" destOrd="0" presId="urn:microsoft.com/office/officeart/2005/8/layout/arrow2"/>
    <dgm:cxn modelId="{0ECAB8FE-2C9C-4619-B120-27ADDFA0019C}" type="presParOf" srcId="{C28BC59D-AE18-418A-89EB-2D00F880E5C1}" destId="{9E45B2B1-6DDD-4A63-BFD7-329A4603B95C}" srcOrd="2" destOrd="0" presId="urn:microsoft.com/office/officeart/2005/8/layout/arrow2"/>
    <dgm:cxn modelId="{B413FF3A-EB5F-435E-89BD-09C0534C0AB7}" type="presParOf" srcId="{C28BC59D-AE18-418A-89EB-2D00F880E5C1}" destId="{98386A2B-C12A-4697-87B0-9716B2D66D6F}" srcOrd="3" destOrd="0" presId="urn:microsoft.com/office/officeart/2005/8/layout/arrow2"/>
    <dgm:cxn modelId="{DB50F120-925D-4776-B57C-2822C7D508A5}" type="presParOf" srcId="{C28BC59D-AE18-418A-89EB-2D00F880E5C1}" destId="{0F6E54D4-B258-4272-8753-4DB38C1666EC}" srcOrd="4" destOrd="0" presId="urn:microsoft.com/office/officeart/2005/8/layout/arrow2"/>
    <dgm:cxn modelId="{99D86C98-5548-4529-8EDE-FE24FDF5AE81}" type="presParOf" srcId="{C28BC59D-AE18-418A-89EB-2D00F880E5C1}" destId="{A7F1CB2A-7670-4CC6-96FE-12217B4175EA}" srcOrd="5" destOrd="0" presId="urn:microsoft.com/office/officeart/2005/8/layout/arrow2"/>
    <dgm:cxn modelId="{DB59CA3B-32AD-4F06-A704-2ADCEE8153E9}" type="presParOf" srcId="{C28BC59D-AE18-418A-89EB-2D00F880E5C1}" destId="{9BDB8A41-69DE-4B72-B779-465A526B0FF1}" srcOrd="6" destOrd="0" presId="urn:microsoft.com/office/officeart/2005/8/layout/arrow2"/>
    <dgm:cxn modelId="{7F3CC07E-B2CC-44F9-8A7A-9A96903BDAA6}" type="presParOf" srcId="{C28BC59D-AE18-418A-89EB-2D00F880E5C1}" destId="{A9D0E857-CFF6-4A4D-9159-2489D0550BE4}" srcOrd="7" destOrd="0" presId="urn:microsoft.com/office/officeart/2005/8/layout/arrow2"/>
    <dgm:cxn modelId="{4E25587B-4046-4E15-80EB-27C150D174EF}" type="presParOf" srcId="{C28BC59D-AE18-418A-89EB-2D00F880E5C1}" destId="{6966C44C-67B0-4DB9-9633-BC31012429A0}" srcOrd="8" destOrd="0" presId="urn:microsoft.com/office/officeart/2005/8/layout/arrow2"/>
    <dgm:cxn modelId="{CB8CBBB5-59B2-4494-A278-126174B5432B}" type="presParOf" srcId="{C28BC59D-AE18-418A-89EB-2D00F880E5C1}" destId="{C3C0C899-F220-4C85-9E44-FA9058CE8B4D}" srcOrd="9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1E1516-24EB-4671-9148-712DE6FC3AA1}">
      <dsp:nvSpPr>
        <dsp:cNvPr id="0" name=""/>
        <dsp:cNvSpPr/>
      </dsp:nvSpPr>
      <dsp:spPr>
        <a:xfrm>
          <a:off x="1050039" y="0"/>
          <a:ext cx="7034395" cy="4396497"/>
        </a:xfrm>
        <a:prstGeom prst="swooshArrow">
          <a:avLst>
            <a:gd name="adj1" fmla="val 25000"/>
            <a:gd name="adj2" fmla="val 25000"/>
          </a:avLst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127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0594A76-B438-4335-8016-F43852A54D79}">
      <dsp:nvSpPr>
        <dsp:cNvPr id="0" name=""/>
        <dsp:cNvSpPr/>
      </dsp:nvSpPr>
      <dsp:spPr>
        <a:xfrm>
          <a:off x="1742927" y="3269235"/>
          <a:ext cx="161791" cy="161791"/>
        </a:xfrm>
        <a:prstGeom prst="ellipse">
          <a:avLst/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6D780C-44BE-462A-BD8A-95998805AA80}">
      <dsp:nvSpPr>
        <dsp:cNvPr id="0" name=""/>
        <dsp:cNvSpPr/>
      </dsp:nvSpPr>
      <dsp:spPr>
        <a:xfrm>
          <a:off x="1823822" y="3350130"/>
          <a:ext cx="921505" cy="10463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730" tIns="0" rIns="0" bIns="0" numCol="1" spcCol="1270" anchor="t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0" kern="1200" dirty="0"/>
            <a:t>Read PDF</a:t>
          </a:r>
        </a:p>
      </dsp:txBody>
      <dsp:txXfrm>
        <a:off x="1823822" y="3350130"/>
        <a:ext cx="921505" cy="1046366"/>
      </dsp:txXfrm>
    </dsp:sp>
    <dsp:sp modelId="{9E45B2B1-6DDD-4A63-BFD7-329A4603B95C}">
      <dsp:nvSpPr>
        <dsp:cNvPr id="0" name=""/>
        <dsp:cNvSpPr/>
      </dsp:nvSpPr>
      <dsp:spPr>
        <a:xfrm>
          <a:off x="2618709" y="2427745"/>
          <a:ext cx="253238" cy="253238"/>
        </a:xfrm>
        <a:prstGeom prst="ellipse">
          <a:avLst/>
        </a:prstGeom>
        <a:solidFill>
          <a:schemeClr val="accent6">
            <a:shade val="80000"/>
            <a:hueOff val="69359"/>
            <a:satOff val="-5603"/>
            <a:lumOff val="7698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386A2B-C12A-4697-87B0-9716B2D66D6F}">
      <dsp:nvSpPr>
        <dsp:cNvPr id="0" name=""/>
        <dsp:cNvSpPr/>
      </dsp:nvSpPr>
      <dsp:spPr>
        <a:xfrm>
          <a:off x="2745328" y="2554364"/>
          <a:ext cx="1167709" cy="18421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4186" tIns="0" rIns="0" bIns="0" numCol="1" spcCol="1270" anchor="t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0" kern="1200" dirty="0"/>
            <a:t>Convert PDF to text</a:t>
          </a:r>
        </a:p>
      </dsp:txBody>
      <dsp:txXfrm>
        <a:off x="2745328" y="2554364"/>
        <a:ext cx="1167709" cy="1842132"/>
      </dsp:txXfrm>
    </dsp:sp>
    <dsp:sp modelId="{0F6E54D4-B258-4272-8753-4DB38C1666EC}">
      <dsp:nvSpPr>
        <dsp:cNvPr id="0" name=""/>
        <dsp:cNvSpPr/>
      </dsp:nvSpPr>
      <dsp:spPr>
        <a:xfrm>
          <a:off x="3744212" y="1756840"/>
          <a:ext cx="337650" cy="337650"/>
        </a:xfrm>
        <a:prstGeom prst="ellipse">
          <a:avLst/>
        </a:prstGeom>
        <a:solidFill>
          <a:schemeClr val="accent6">
            <a:shade val="80000"/>
            <a:hueOff val="138718"/>
            <a:satOff val="-11206"/>
            <a:lumOff val="15395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7F1CB2A-7670-4CC6-96FE-12217B4175EA}">
      <dsp:nvSpPr>
        <dsp:cNvPr id="0" name=""/>
        <dsp:cNvSpPr/>
      </dsp:nvSpPr>
      <dsp:spPr>
        <a:xfrm>
          <a:off x="3913038" y="1925665"/>
          <a:ext cx="1357638" cy="24708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8914" tIns="0" rIns="0" bIns="0" numCol="1" spcCol="1270" anchor="t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0" kern="1200" dirty="0"/>
            <a:t>Split text into sections</a:t>
          </a:r>
        </a:p>
      </dsp:txBody>
      <dsp:txXfrm>
        <a:off x="3913038" y="1925665"/>
        <a:ext cx="1357638" cy="2470831"/>
      </dsp:txXfrm>
    </dsp:sp>
    <dsp:sp modelId="{9BDB8A41-69DE-4B72-B779-465A526B0FF1}">
      <dsp:nvSpPr>
        <dsp:cNvPr id="0" name=""/>
        <dsp:cNvSpPr/>
      </dsp:nvSpPr>
      <dsp:spPr>
        <a:xfrm>
          <a:off x="5052610" y="1232777"/>
          <a:ext cx="436132" cy="436132"/>
        </a:xfrm>
        <a:prstGeom prst="ellipse">
          <a:avLst/>
        </a:prstGeom>
        <a:solidFill>
          <a:schemeClr val="accent6">
            <a:shade val="80000"/>
            <a:hueOff val="208078"/>
            <a:satOff val="-16808"/>
            <a:lumOff val="23093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D0E857-CFF6-4A4D-9159-2489D0550BE4}">
      <dsp:nvSpPr>
        <dsp:cNvPr id="0" name=""/>
        <dsp:cNvSpPr/>
      </dsp:nvSpPr>
      <dsp:spPr>
        <a:xfrm>
          <a:off x="5270676" y="1450844"/>
          <a:ext cx="1406879" cy="29456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1098" tIns="0" rIns="0" bIns="0" numCol="1" spcCol="1270" anchor="t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0" kern="1200" dirty="0"/>
            <a:t>Identify relevant sections</a:t>
          </a:r>
        </a:p>
      </dsp:txBody>
      <dsp:txXfrm>
        <a:off x="5270676" y="1450844"/>
        <a:ext cx="1406879" cy="2945652"/>
      </dsp:txXfrm>
    </dsp:sp>
    <dsp:sp modelId="{6966C44C-67B0-4DB9-9633-BC31012429A0}">
      <dsp:nvSpPr>
        <dsp:cNvPr id="0" name=""/>
        <dsp:cNvSpPr/>
      </dsp:nvSpPr>
      <dsp:spPr>
        <a:xfrm>
          <a:off x="6399696" y="882816"/>
          <a:ext cx="555717" cy="555717"/>
        </a:xfrm>
        <a:prstGeom prst="ellipse">
          <a:avLst/>
        </a:prstGeom>
        <a:solidFill>
          <a:schemeClr val="accent6">
            <a:shade val="80000"/>
            <a:hueOff val="277437"/>
            <a:satOff val="-22411"/>
            <a:lumOff val="3079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3C0C899-F220-4C85-9E44-FA9058CE8B4D}">
      <dsp:nvSpPr>
        <dsp:cNvPr id="0" name=""/>
        <dsp:cNvSpPr/>
      </dsp:nvSpPr>
      <dsp:spPr>
        <a:xfrm>
          <a:off x="6677555" y="1160675"/>
          <a:ext cx="1406879" cy="32358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4463" tIns="0" rIns="0" bIns="0" numCol="1" spcCol="1270" anchor="t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0" kern="1200" dirty="0"/>
            <a:t>Generate answers from the text</a:t>
          </a:r>
        </a:p>
      </dsp:txBody>
      <dsp:txXfrm>
        <a:off x="6677555" y="1160675"/>
        <a:ext cx="1406879" cy="323582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151A11-9266-4A6A-8725-65903C04DC3D}" type="datetimeFigureOut">
              <a:rPr lang="en-US" smtClean="0"/>
              <a:t>6/3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75B96E-E5D4-4A6D-9072-1867F2C38C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292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5B96E-E5D4-4A6D-9072-1867F2C38C5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37536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Problemstateme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5B96E-E5D4-4A6D-9072-1867F2C38C5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76712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Problemstateme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5B96E-E5D4-4A6D-9072-1867F2C38C5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9691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Problemstateme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5B96E-E5D4-4A6D-9072-1867F2C38C5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52460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n ESG report is a comprehensive document that highlights a company's commitment to sustainable practices, ethical governance, and social responsibility, playing a crucial role in building trust and attracting investment and influencing banks' reputational risk and investment decis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  <a:p>
            <a:endParaRPr lang="en-GB" b="1" dirty="0"/>
          </a:p>
          <a:p>
            <a:r>
              <a:rPr lang="en-GB" b="1" dirty="0"/>
              <a:t>Current Landscape:</a:t>
            </a:r>
            <a:endParaRPr lang="en-GB" dirty="0"/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Regulatory Frameworks</a:t>
            </a:r>
            <a:r>
              <a:rPr lang="en-GB" dirty="0"/>
              <a:t>: EU Taxonomy, SFDR, TCFD shaping disclosure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Standards</a:t>
            </a:r>
            <a:r>
              <a:rPr lang="en-GB" dirty="0"/>
              <a:t>: GRI, SASB, CDP guide ESG reporting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Mandatory vs. Voluntary</a:t>
            </a:r>
            <a:r>
              <a:rPr lang="en-GB" dirty="0"/>
              <a:t>: Increasing regulations, varying by regio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Stakeholder Demands</a:t>
            </a:r>
            <a:r>
              <a:rPr lang="en-GB" dirty="0"/>
              <a:t>: Rising pressure from investors and consumers for transparency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Technology</a:t>
            </a:r>
            <a:r>
              <a:rPr lang="en-GB" dirty="0"/>
              <a:t>: Use of AI, analytics, and blockchain for improved accuracy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Challenges</a:t>
            </a:r>
            <a:r>
              <a:rPr lang="en-GB" dirty="0"/>
              <a:t>: Data inconsistency, greenwashing, lack of standardization.</a:t>
            </a:r>
          </a:p>
          <a:p>
            <a:r>
              <a:rPr lang="en-GB" b="1" dirty="0"/>
              <a:t>Factors in Bank Rating:</a:t>
            </a:r>
            <a:endParaRPr lang="en-GB" dirty="0"/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ESG Performance of Companies</a:t>
            </a:r>
            <a:r>
              <a:rPr lang="en-GB" dirty="0"/>
              <a:t>: Banks assess the environmental, social, and governance practices of companies they invest in or lend to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Risk Management</a:t>
            </a:r>
            <a:r>
              <a:rPr lang="en-GB" dirty="0"/>
              <a:t>: Evaluation of how companies manage ESG-related risk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Transparency</a:t>
            </a:r>
            <a:r>
              <a:rPr lang="en-GB" dirty="0"/>
              <a:t>: Importance of clear, consistent ESG disclosures from companie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Reputation</a:t>
            </a:r>
            <a:r>
              <a:rPr lang="en-GB" dirty="0"/>
              <a:t>: Company ESG ratings influence banks' reputational risk and investment decision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Lending Practices</a:t>
            </a:r>
            <a:r>
              <a:rPr lang="en-GB" dirty="0"/>
              <a:t>: Banks consider the sustainability and responsibility of companies' practices when making lending decision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5B96E-E5D4-4A6D-9072-1867F2C38C5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00346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Bullet Poin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Access to Capital:</a:t>
            </a:r>
            <a:r>
              <a:rPr lang="en-GB" dirty="0"/>
              <a:t> Improves chances of securing loans and investments from bank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Risk Management:</a:t>
            </a:r>
            <a:r>
              <a:rPr lang="en-GB" dirty="0"/>
              <a:t> Demonstrates effective management of ESG-related risk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Reputation:</a:t>
            </a:r>
            <a:r>
              <a:rPr lang="en-GB" dirty="0"/>
              <a:t> Enhances corporate reputation and stakeholder trus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Compliance:</a:t>
            </a:r>
            <a:r>
              <a:rPr lang="en-GB" dirty="0"/>
              <a:t> Ensures adherence to regulatory requiremen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Competitive Advantage:</a:t>
            </a:r>
            <a:r>
              <a:rPr lang="en-GB" dirty="0"/>
              <a:t> Differentiates company in the market, attracting more investors and customer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Transparency:</a:t>
            </a:r>
            <a:r>
              <a:rPr lang="en-GB" dirty="0"/>
              <a:t> Provides clear and consistent information about ESG practic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Sustainability:</a:t>
            </a:r>
            <a:r>
              <a:rPr lang="en-GB" dirty="0"/>
              <a:t> Shows commitment to sustainable practices, appealing to socially conscious investor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Cost of Capital:</a:t>
            </a:r>
            <a:r>
              <a:rPr lang="en-GB" dirty="0"/>
              <a:t> Potentially lowers cost of capital due to reduced risk perception</a:t>
            </a:r>
          </a:p>
          <a:p>
            <a:pPr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5B96E-E5D4-4A6D-9072-1867F2C38C5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62194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err="1"/>
              <a:t>Ausgangssituation</a:t>
            </a:r>
            <a:br>
              <a:rPr lang="en-US" dirty="0"/>
            </a:br>
            <a:r>
              <a:rPr lang="en-GB" b="1" dirty="0"/>
              <a:t>Title</a:t>
            </a:r>
            <a:r>
              <a:rPr lang="en-GB" dirty="0"/>
              <a:t>: </a:t>
            </a:r>
            <a:r>
              <a:rPr lang="en-GB" dirty="0" err="1"/>
              <a:t>Erfassung</a:t>
            </a:r>
            <a:r>
              <a:rPr lang="en-GB" dirty="0"/>
              <a:t> von ESG-</a:t>
            </a:r>
            <a:r>
              <a:rPr lang="en-GB" dirty="0" err="1"/>
              <a:t>relevanten</a:t>
            </a:r>
            <a:r>
              <a:rPr lang="en-GB" dirty="0"/>
              <a:t> </a:t>
            </a:r>
            <a:r>
              <a:rPr lang="en-GB" dirty="0" err="1"/>
              <a:t>Eigenschaften</a:t>
            </a:r>
            <a:r>
              <a:rPr lang="en-GB" dirty="0"/>
              <a:t> von </a:t>
            </a:r>
            <a:r>
              <a:rPr lang="en-GB" dirty="0" err="1"/>
              <a:t>Kreditnehmern</a:t>
            </a:r>
            <a:r>
              <a:rPr lang="en-GB" dirty="0"/>
              <a:t> (Capturing ESG-Relevant Characteristics of Borrowers)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Description</a:t>
            </a:r>
            <a:r>
              <a:rPr lang="en-GB" dirty="0"/>
              <a:t>: Verena, a rating analyst at </a:t>
            </a:r>
            <a:r>
              <a:rPr lang="en-GB" dirty="0" err="1"/>
              <a:t>KfW</a:t>
            </a:r>
            <a:r>
              <a:rPr lang="en-GB" dirty="0"/>
              <a:t>, needs to update ratings at least once a year, or more frequently if risk events occur. ESG risks are relevant for the bank's control and how external factors affect Verena's portfolio and </a:t>
            </a:r>
            <a:r>
              <a:rPr lang="en-GB" dirty="0" err="1"/>
              <a:t>KfW</a:t>
            </a:r>
            <a:r>
              <a:rPr lang="en-GB" dirty="0"/>
              <a:t>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Key </a:t>
            </a:r>
            <a:r>
              <a:rPr lang="en-GB" b="1" dirty="0" err="1"/>
              <a:t>Points</a:t>
            </a:r>
            <a:r>
              <a:rPr lang="en-GB" dirty="0" err="1"/>
              <a:t>:Collection</a:t>
            </a:r>
            <a:r>
              <a:rPr lang="en-GB" dirty="0"/>
              <a:t> of all ESG-relevant characteristics of a borrower during the rating proces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Structured questionnaire for sustainability report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Documentation must be regulatory relevant, verifiable, and systematic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The collection should be time-efficient, content accurate, and require minimal manual effort.</a:t>
            </a:r>
          </a:p>
          <a:p>
            <a:pPr>
              <a:buFont typeface="Arial" panose="020B0604020202020204" pitchFamily="34" charset="0"/>
              <a:buChar char="•"/>
            </a:pPr>
            <a:endParaRPr lang="en-GB" dirty="0"/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Title:</a:t>
            </a:r>
            <a:r>
              <a:rPr lang="en-GB" dirty="0"/>
              <a:t> Verena, Rating Analyst at </a:t>
            </a:r>
            <a:r>
              <a:rPr lang="en-GB" dirty="0" err="1"/>
              <a:t>KfW</a:t>
            </a:r>
            <a:endParaRPr lang="en-GB" dirty="0"/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Task:</a:t>
            </a:r>
            <a:r>
              <a:rPr lang="en-GB" dirty="0"/>
              <a:t> Annual rating updates, more frequent for risk-relevant even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Focus:</a:t>
            </a:r>
            <a:r>
              <a:rPr lang="en-GB" dirty="0"/>
              <a:t> ESG risks' impact on her portfolio and </a:t>
            </a:r>
            <a:r>
              <a:rPr lang="en-GB" dirty="0" err="1"/>
              <a:t>KfW's</a:t>
            </a:r>
            <a:r>
              <a:rPr lang="en-GB" dirty="0"/>
              <a:t> portfolio (Outside-In Perspective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Example:</a:t>
            </a:r>
            <a:endParaRPr lang="en-GB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1" dirty="0"/>
              <a:t>Outside-In Perspective:</a:t>
            </a:r>
            <a:r>
              <a:rPr lang="en-GB" dirty="0"/>
              <a:t> Verena uses </a:t>
            </a:r>
            <a:r>
              <a:rPr lang="en-GB" dirty="0" err="1"/>
              <a:t>GenAI</a:t>
            </a:r>
            <a:r>
              <a:rPr lang="en-GB" dirty="0"/>
              <a:t> to understand how external environmental regulations, social changes, and governance issues affect the creditworthiness of companies in her portfolio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1" dirty="0"/>
              <a:t>Impact Analysis:</a:t>
            </a:r>
            <a:r>
              <a:rPr lang="en-GB" dirty="0"/>
              <a:t> Assesses how a new environmental law impacts the credit ratings of industrial firms, informing timely adjustments to risk management strategi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1" dirty="0"/>
              <a:t>Real-World Impact:</a:t>
            </a:r>
            <a:r>
              <a:rPr lang="en-GB" dirty="0"/>
              <a:t> Enables proactive adjustments to </a:t>
            </a:r>
            <a:r>
              <a:rPr lang="en-GB" dirty="0" err="1"/>
              <a:t>KfW's</a:t>
            </a:r>
            <a:r>
              <a:rPr lang="en-GB" dirty="0"/>
              <a:t> investment strategies based on real-time ESG risk data.</a:t>
            </a:r>
          </a:p>
          <a:p>
            <a:pPr>
              <a:buFont typeface="Arial" panose="020B0604020202020204" pitchFamily="34" charset="0"/>
              <a:buChar char="•"/>
            </a:pPr>
            <a:endParaRPr lang="en-GB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5B96E-E5D4-4A6D-9072-1867F2C38C5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35301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Summar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Current State:</a:t>
            </a:r>
            <a:r>
              <a:rPr lang="en-GB" dirty="0"/>
              <a:t> </a:t>
            </a:r>
            <a:r>
              <a:rPr lang="en-GB" dirty="0" err="1"/>
              <a:t>KfW</a:t>
            </a:r>
            <a:r>
              <a:rPr lang="en-GB" dirty="0"/>
              <a:t> has a team of 20 FTEs dedicated to ESG report analysi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Manual Analysis Time:</a:t>
            </a:r>
            <a:r>
              <a:rPr lang="en-GB" dirty="0"/>
              <a:t> 8 hours per report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Automated Analysis Time with </a:t>
            </a:r>
            <a:r>
              <a:rPr lang="en-GB" b="1" dirty="0" err="1"/>
              <a:t>GenAI</a:t>
            </a:r>
            <a:r>
              <a:rPr lang="en-GB" b="1" dirty="0"/>
              <a:t>:</a:t>
            </a:r>
            <a:r>
              <a:rPr lang="en-GB" dirty="0"/>
              <a:t> 5 hours per report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Total Reports </a:t>
            </a:r>
            <a:r>
              <a:rPr lang="en-GB" b="1" dirty="0" err="1"/>
              <a:t>Analyzed</a:t>
            </a:r>
            <a:r>
              <a:rPr lang="en-GB" b="1" dirty="0"/>
              <a:t> Annually:</a:t>
            </a:r>
            <a:r>
              <a:rPr lang="en-GB" dirty="0"/>
              <a:t> 1000 report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Total Time Savings:</a:t>
            </a:r>
            <a:r>
              <a:rPr lang="en-GB" dirty="0"/>
              <a:t> 3000 hours annually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FTE Savings:</a:t>
            </a:r>
            <a:r>
              <a:rPr lang="en-GB" dirty="0"/>
              <a:t> Approximately 3 Full-Time Equivalents (FTEs) annually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Cost Savings:</a:t>
            </a:r>
            <a:r>
              <a:rPr lang="en-GB" dirty="0"/>
              <a:t> €240,000 annually.</a:t>
            </a:r>
          </a:p>
          <a:p>
            <a:r>
              <a:rPr lang="en-GB" dirty="0"/>
              <a:t>This table format clearly shows the detailed business case, highlighting the time and cost savings </a:t>
            </a:r>
            <a:r>
              <a:rPr lang="en-GB" dirty="0" err="1"/>
              <a:t>KfW</a:t>
            </a:r>
            <a:r>
              <a:rPr lang="en-GB" dirty="0"/>
              <a:t> can achieve by using </a:t>
            </a:r>
            <a:r>
              <a:rPr lang="en-GB" dirty="0" err="1"/>
              <a:t>GenAI</a:t>
            </a:r>
            <a:r>
              <a:rPr lang="en-GB" dirty="0"/>
              <a:t> for ESG report analysi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5B96E-E5D4-4A6D-9072-1867F2C38C5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7352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Problemstateme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5B96E-E5D4-4A6D-9072-1867F2C38C5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2904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Multilingual Support</a:t>
            </a:r>
            <a:r>
              <a:rPr lang="en-GB" dirty="0"/>
              <a:t>: Extend the solution to support multiple languages for global applicability.</a:t>
            </a:r>
          </a:p>
          <a:p>
            <a:r>
              <a:rPr lang="en-GB" dirty="0"/>
              <a:t>Real-time Updates: Incorporate real-time data sources to keep the analysis up-to-</a:t>
            </a:r>
            <a:r>
              <a:rPr lang="en-GB" dirty="0" err="1"/>
              <a:t>date.Advanced</a:t>
            </a:r>
            <a:r>
              <a:rPr lang="en-GB" dirty="0"/>
              <a:t> Analytics: Add more advanced analytics capabilities, such as trend analysis and predictive insights.</a:t>
            </a:r>
          </a:p>
          <a:p>
            <a:endParaRPr lang="en-GB" dirty="0"/>
          </a:p>
          <a:p>
            <a:r>
              <a:rPr lang="en-GB" b="1" dirty="0"/>
              <a:t>Slide 7: Key Benefits for </a:t>
            </a:r>
            <a:r>
              <a:rPr lang="en-GB" b="1" dirty="0" err="1"/>
              <a:t>KfW</a:t>
            </a:r>
            <a:r>
              <a:rPr lang="en-GB" b="1" dirty="0"/>
              <a:t> (1 minute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Title:</a:t>
            </a:r>
            <a:r>
              <a:rPr lang="en-GB" dirty="0"/>
              <a:t> Empowering </a:t>
            </a:r>
            <a:r>
              <a:rPr lang="en-GB" dirty="0" err="1"/>
              <a:t>KfW's</a:t>
            </a:r>
            <a:r>
              <a:rPr lang="en-GB" dirty="0"/>
              <a:t> Sustainability Miss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Visuals:</a:t>
            </a:r>
            <a:r>
              <a:rPr lang="en-GB" dirty="0"/>
              <a:t> </a:t>
            </a:r>
            <a:r>
              <a:rPr lang="en-GB" dirty="0" err="1"/>
              <a:t>KfW’s</a:t>
            </a:r>
            <a:r>
              <a:rPr lang="en-GB" dirty="0"/>
              <a:t> mission statement and </a:t>
            </a:r>
            <a:r>
              <a:rPr lang="en-GB" dirty="0" err="1"/>
              <a:t>GenAI</a:t>
            </a:r>
            <a:r>
              <a:rPr lang="en-GB" dirty="0"/>
              <a:t> interface </a:t>
            </a:r>
            <a:r>
              <a:rPr lang="en-GB" dirty="0" err="1"/>
              <a:t>mockup</a:t>
            </a:r>
            <a:endParaRPr lang="en-GB" dirty="0"/>
          </a:p>
          <a:p>
            <a:pPr>
              <a:buFont typeface="Arial" panose="020B0604020202020204" pitchFamily="34" charset="0"/>
              <a:buChar char="•"/>
            </a:pPr>
            <a:r>
              <a:rPr lang="en-GB" b="1" dirty="0"/>
              <a:t>Text:</a:t>
            </a:r>
            <a:endParaRPr lang="en-GB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1" dirty="0"/>
              <a:t>Enhanced Decision-Making:</a:t>
            </a:r>
            <a:r>
              <a:rPr lang="en-GB" dirty="0"/>
              <a:t> Informed strategies and investmen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1" dirty="0"/>
              <a:t>Stakeholder Engagement:</a:t>
            </a:r>
            <a:r>
              <a:rPr lang="en-GB" dirty="0"/>
              <a:t> Transparent report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1" dirty="0"/>
              <a:t>Efficiency Gains:</a:t>
            </a:r>
            <a:r>
              <a:rPr lang="en-GB" dirty="0"/>
              <a:t> Saves time and effor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1" dirty="0"/>
              <a:t>Business Case:</a:t>
            </a:r>
            <a:endParaRPr lang="en-GB" dirty="0"/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GB" b="1" dirty="0"/>
              <a:t>Current State:</a:t>
            </a:r>
            <a:r>
              <a:rPr lang="en-GB" dirty="0"/>
              <a:t> </a:t>
            </a:r>
            <a:r>
              <a:rPr lang="en-GB" dirty="0" err="1"/>
              <a:t>KfW</a:t>
            </a:r>
            <a:r>
              <a:rPr lang="en-GB" dirty="0"/>
              <a:t> has a team of 20 FTEs dedicated to ESG report analysis.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GB" b="1" dirty="0"/>
              <a:t>FTE Savings:</a:t>
            </a:r>
            <a:r>
              <a:rPr lang="en-GB" dirty="0"/>
              <a:t> By automating the analysis of ESG reports, </a:t>
            </a:r>
            <a:r>
              <a:rPr lang="en-GB" dirty="0" err="1"/>
              <a:t>KfW</a:t>
            </a:r>
            <a:r>
              <a:rPr lang="en-GB" dirty="0"/>
              <a:t> can save approximately 3 Full-Time Equivalents (FTEs) annually.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GB" b="1" dirty="0"/>
              <a:t>Time Savings:</a:t>
            </a:r>
            <a:r>
              <a:rPr lang="en-GB" dirty="0"/>
              <a:t> Manual analysis of ESG reports can take up to 50 hours per report. With </a:t>
            </a:r>
            <a:r>
              <a:rPr lang="en-GB" dirty="0" err="1"/>
              <a:t>GenAI</a:t>
            </a:r>
            <a:r>
              <a:rPr lang="en-GB" dirty="0"/>
              <a:t>, this time is reduced to 5 hours, resulting in a time savings of 90%.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GB" b="1" dirty="0"/>
              <a:t>Cost Savings:</a:t>
            </a:r>
            <a:r>
              <a:rPr lang="en-GB" dirty="0"/>
              <a:t> Assuming an average cost of €80,000 per FTE, the annual savings in </a:t>
            </a:r>
            <a:r>
              <a:rPr lang="en-GB" dirty="0" err="1"/>
              <a:t>labor</a:t>
            </a:r>
            <a:r>
              <a:rPr lang="en-GB" dirty="0"/>
              <a:t> costs would be approximately €240,000.</a:t>
            </a:r>
          </a:p>
          <a:p>
            <a:pPr>
              <a:buFont typeface="Arial" panose="020B0604020202020204" pitchFamily="34" charset="0"/>
              <a:buChar char="•"/>
            </a:pPr>
            <a:endParaRPr lang="en-GB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1" dirty="0"/>
              <a:t>Business Case:</a:t>
            </a:r>
            <a:endParaRPr lang="en-GB" dirty="0"/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GB" b="1" dirty="0"/>
              <a:t>Current State:</a:t>
            </a:r>
            <a:r>
              <a:rPr lang="en-GB" dirty="0"/>
              <a:t> </a:t>
            </a:r>
            <a:r>
              <a:rPr lang="en-GB" dirty="0" err="1"/>
              <a:t>KfW</a:t>
            </a:r>
            <a:r>
              <a:rPr lang="en-GB" dirty="0"/>
              <a:t> has a team of 20 FTEs dedicated to ESG report analysis.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GB" b="1" dirty="0"/>
              <a:t>Manual Analysis Time:</a:t>
            </a:r>
            <a:r>
              <a:rPr lang="en-GB" dirty="0"/>
              <a:t> It takes about 8 hours to manually </a:t>
            </a:r>
            <a:r>
              <a:rPr lang="en-GB" dirty="0" err="1"/>
              <a:t>analyze</a:t>
            </a:r>
            <a:r>
              <a:rPr lang="en-GB" dirty="0"/>
              <a:t> each ESG report.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GB" b="1" dirty="0"/>
              <a:t>Reports per FTE:</a:t>
            </a:r>
            <a:r>
              <a:rPr lang="en-GB" dirty="0"/>
              <a:t> Each FTE </a:t>
            </a:r>
            <a:r>
              <a:rPr lang="en-GB" dirty="0" err="1"/>
              <a:t>analyzes</a:t>
            </a:r>
            <a:r>
              <a:rPr lang="en-GB" dirty="0"/>
              <a:t> 32 reports per year to match the 3 FTE savings.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GB" b="1" dirty="0"/>
              <a:t>Total Reports </a:t>
            </a:r>
            <a:r>
              <a:rPr lang="en-GB" b="1" dirty="0" err="1"/>
              <a:t>Analyzed</a:t>
            </a:r>
            <a:r>
              <a:rPr lang="en-GB" b="1" dirty="0"/>
              <a:t> Annually:</a:t>
            </a:r>
            <a:r>
              <a:rPr lang="en-GB" dirty="0"/>
              <a:t> 20 FTEs * 32 reports/FTE = 640 reports per year.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GB" b="1" dirty="0"/>
              <a:t>Time Savings:</a:t>
            </a:r>
            <a:r>
              <a:rPr lang="en-GB" dirty="0"/>
              <a:t> Manual analysis of 640 ESG reports takes 5120 hours. With </a:t>
            </a:r>
            <a:r>
              <a:rPr lang="en-GB" dirty="0" err="1"/>
              <a:t>GenAI</a:t>
            </a:r>
            <a:r>
              <a:rPr lang="en-GB" dirty="0"/>
              <a:t>, this time is reduced to 3200 hours, resulting in a time savings of 1920 hours annually.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GB" b="1" dirty="0"/>
              <a:t>FTE Savings:</a:t>
            </a:r>
            <a:r>
              <a:rPr lang="en-GB" dirty="0"/>
              <a:t> By automating the analysis of ESG reports, </a:t>
            </a:r>
            <a:r>
              <a:rPr lang="en-GB" dirty="0" err="1"/>
              <a:t>KfW</a:t>
            </a:r>
            <a:r>
              <a:rPr lang="en-GB" dirty="0"/>
              <a:t> can save approximately 3 Full-Time Equivalents (FTEs) annually.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GB" b="1" dirty="0"/>
              <a:t>Cost Savings:</a:t>
            </a:r>
            <a:r>
              <a:rPr lang="en-GB" dirty="0"/>
              <a:t> Assuming an average cost of €80,000 per FTE, the annual savings in </a:t>
            </a:r>
            <a:r>
              <a:rPr lang="en-GB" dirty="0" err="1"/>
              <a:t>labor</a:t>
            </a:r>
            <a:r>
              <a:rPr lang="en-GB" dirty="0"/>
              <a:t> costs would be approximately €240,000.</a:t>
            </a:r>
          </a:p>
          <a:p>
            <a:r>
              <a:rPr lang="en-GB" dirty="0"/>
              <a:t>Efficiency: Automates the analysis of sustainability reports, saving time and resources (~240k€) </a:t>
            </a:r>
          </a:p>
          <a:p>
            <a:r>
              <a:rPr lang="en-GB" dirty="0"/>
              <a:t>Accuracy: Provides precise and reliable answers to complex ESG-related questions. </a:t>
            </a:r>
          </a:p>
          <a:p>
            <a:r>
              <a:rPr lang="en-GB" dirty="0"/>
              <a:t>Compliance: Helps organizations stay compliant with regulatory requirements. </a:t>
            </a:r>
          </a:p>
          <a:p>
            <a:r>
              <a:rPr lang="en-GB" dirty="0"/>
              <a:t>Scalability: Scalable solution that can handle a large volume of reports and querie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5B96E-E5D4-4A6D-9072-1867F2C38C5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66196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rivacy Concerns</a:t>
            </a:r>
            <a:r>
              <a:rPr lang="en-GB" dirty="0"/>
              <a:t> </a:t>
            </a:r>
          </a:p>
          <a:p>
            <a:r>
              <a:rPr lang="en-GB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ata Quality</a:t>
            </a:r>
            <a:r>
              <a:rPr lang="en-GB" dirty="0"/>
              <a:t> </a:t>
            </a:r>
          </a:p>
          <a:p>
            <a:r>
              <a:rPr lang="en-GB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lgorithmic Bias in the AI model</a:t>
            </a:r>
            <a:r>
              <a:rPr lang="en-GB" dirty="0"/>
              <a:t> </a:t>
            </a:r>
          </a:p>
          <a:p>
            <a:r>
              <a:rPr lang="en-GB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isinterpretation of AI-generated insights</a:t>
            </a:r>
            <a:r>
              <a:rPr lang="en-GB" dirty="0"/>
              <a:t> </a:t>
            </a:r>
          </a:p>
          <a:p>
            <a:r>
              <a:rPr lang="en-GB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ependence on AI</a:t>
            </a:r>
            <a:r>
              <a:rPr lang="en-GB" dirty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5B96E-E5D4-4A6D-9072-1867F2C38C5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2399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Problemstateme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5B96E-E5D4-4A6D-9072-1867F2C38C5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12889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5CD60141-EEBD-4EC1-8E34-0344C16A18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318308" y="0"/>
            <a:ext cx="6873692" cy="6858000"/>
          </a:xfrm>
          <a:custGeom>
            <a:avLst/>
            <a:gdLst>
              <a:gd name="connsiteX0" fmla="*/ 113289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5318308 w 12192000"/>
              <a:gd name="connsiteY3" fmla="*/ 6858000 h 6858000"/>
              <a:gd name="connsiteX4" fmla="*/ 11328897 w 12192000"/>
              <a:gd name="connsiteY4" fmla="*/ 4 h 6858000"/>
              <a:gd name="connsiteX5" fmla="*/ 11328898 w 12192000"/>
              <a:gd name="connsiteY5" fmla="*/ 2 h 6858000"/>
              <a:gd name="connsiteX6" fmla="*/ 0 w 12192000"/>
              <a:gd name="connsiteY6" fmla="*/ 0 h 6858000"/>
              <a:gd name="connsiteX7" fmla="*/ 6700 w 12192000"/>
              <a:gd name="connsiteY7" fmla="*/ 0 h 6858000"/>
              <a:gd name="connsiteX8" fmla="*/ 6700 w 12192000"/>
              <a:gd name="connsiteY8" fmla="*/ 6858000 h 6858000"/>
              <a:gd name="connsiteX9" fmla="*/ 0 w 12192000"/>
              <a:gd name="connsiteY9" fmla="*/ 6858000 h 6858000"/>
              <a:gd name="connsiteX0" fmla="*/ 113289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5318308 w 12192000"/>
              <a:gd name="connsiteY3" fmla="*/ 6858000 h 6858000"/>
              <a:gd name="connsiteX4" fmla="*/ 11328897 w 12192000"/>
              <a:gd name="connsiteY4" fmla="*/ 4 h 6858000"/>
              <a:gd name="connsiteX5" fmla="*/ 11328898 w 12192000"/>
              <a:gd name="connsiteY5" fmla="*/ 2 h 6858000"/>
              <a:gd name="connsiteX6" fmla="*/ 11328900 w 12192000"/>
              <a:gd name="connsiteY6" fmla="*/ 0 h 6858000"/>
              <a:gd name="connsiteX7" fmla="*/ 0 w 12192000"/>
              <a:gd name="connsiteY7" fmla="*/ 6858000 h 6858000"/>
              <a:gd name="connsiteX8" fmla="*/ 6700 w 12192000"/>
              <a:gd name="connsiteY8" fmla="*/ 0 h 6858000"/>
              <a:gd name="connsiteX9" fmla="*/ 6700 w 12192000"/>
              <a:gd name="connsiteY9" fmla="*/ 6858000 h 6858000"/>
              <a:gd name="connsiteX10" fmla="*/ 0 w 12192000"/>
              <a:gd name="connsiteY10" fmla="*/ 6858000 h 6858000"/>
              <a:gd name="connsiteX0" fmla="*/ 11322200 w 12185300"/>
              <a:gd name="connsiteY0" fmla="*/ 0 h 6858000"/>
              <a:gd name="connsiteX1" fmla="*/ 12185300 w 12185300"/>
              <a:gd name="connsiteY1" fmla="*/ 0 h 6858000"/>
              <a:gd name="connsiteX2" fmla="*/ 12185300 w 12185300"/>
              <a:gd name="connsiteY2" fmla="*/ 6858000 h 6858000"/>
              <a:gd name="connsiteX3" fmla="*/ 5311608 w 12185300"/>
              <a:gd name="connsiteY3" fmla="*/ 6858000 h 6858000"/>
              <a:gd name="connsiteX4" fmla="*/ 11322197 w 12185300"/>
              <a:gd name="connsiteY4" fmla="*/ 4 h 6858000"/>
              <a:gd name="connsiteX5" fmla="*/ 11322198 w 12185300"/>
              <a:gd name="connsiteY5" fmla="*/ 2 h 6858000"/>
              <a:gd name="connsiteX6" fmla="*/ 11322200 w 12185300"/>
              <a:gd name="connsiteY6" fmla="*/ 0 h 6858000"/>
              <a:gd name="connsiteX7" fmla="*/ 0 w 12185300"/>
              <a:gd name="connsiteY7" fmla="*/ 6858000 h 6858000"/>
              <a:gd name="connsiteX8" fmla="*/ 0 w 12185300"/>
              <a:gd name="connsiteY8" fmla="*/ 0 h 6858000"/>
              <a:gd name="connsiteX9" fmla="*/ 0 w 12185300"/>
              <a:gd name="connsiteY9" fmla="*/ 6858000 h 6858000"/>
              <a:gd name="connsiteX0" fmla="*/ 6010592 w 6873692"/>
              <a:gd name="connsiteY0" fmla="*/ 0 h 6858000"/>
              <a:gd name="connsiteX1" fmla="*/ 6873692 w 6873692"/>
              <a:gd name="connsiteY1" fmla="*/ 0 h 6858000"/>
              <a:gd name="connsiteX2" fmla="*/ 6873692 w 6873692"/>
              <a:gd name="connsiteY2" fmla="*/ 6858000 h 6858000"/>
              <a:gd name="connsiteX3" fmla="*/ 0 w 6873692"/>
              <a:gd name="connsiteY3" fmla="*/ 6858000 h 6858000"/>
              <a:gd name="connsiteX4" fmla="*/ 6010589 w 6873692"/>
              <a:gd name="connsiteY4" fmla="*/ 4 h 6858000"/>
              <a:gd name="connsiteX5" fmla="*/ 6010590 w 6873692"/>
              <a:gd name="connsiteY5" fmla="*/ 2 h 6858000"/>
              <a:gd name="connsiteX6" fmla="*/ 6010592 w 6873692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73692" h="6858000">
                <a:moveTo>
                  <a:pt x="6010592" y="0"/>
                </a:moveTo>
                <a:lnTo>
                  <a:pt x="6873692" y="0"/>
                </a:lnTo>
                <a:lnTo>
                  <a:pt x="6873692" y="6858000"/>
                </a:lnTo>
                <a:lnTo>
                  <a:pt x="0" y="6858000"/>
                </a:lnTo>
                <a:lnTo>
                  <a:pt x="6010589" y="4"/>
                </a:lnTo>
                <a:cubicBezTo>
                  <a:pt x="6010589" y="3"/>
                  <a:pt x="6010590" y="3"/>
                  <a:pt x="6010590" y="2"/>
                </a:cubicBezTo>
                <a:lnTo>
                  <a:pt x="6010592" y="0"/>
                </a:lnTo>
                <a:close/>
              </a:path>
            </a:pathLst>
          </a:cu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5FCBBA-905A-4FD1-BFBA-F3EE6DA264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81098"/>
            <a:ext cx="8986580" cy="2832404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4800" cap="all" spc="3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DD287E-F1C8-463F-8429-D1B5B15825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5463522"/>
            <a:ext cx="8986580" cy="650311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1F44ED-7973-4A99-B2CA-A8962BCE0D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DBD16-5BFB-4D9F-9646-C75D1B53BBB6}" type="datetimeFigureOut">
              <a:rPr lang="en-US" smtClean="0"/>
              <a:t>6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DF96F2-D6BE-49AC-A605-5AE87C3F2F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17FC50-B13C-4B63-AE64-F71A6EDE63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722274-0FAA-4649-AA4E-4210F4F32167}" type="slidenum">
              <a:rPr lang="en-US" smtClean="0"/>
              <a:t>‹#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C75A547-BCD1-42BE-966E-53CA0AB93165}"/>
              </a:ext>
            </a:extLst>
          </p:cNvPr>
          <p:cNvCxnSpPr>
            <a:cxnSpLocks/>
          </p:cNvCxnSpPr>
          <p:nvPr/>
        </p:nvCxnSpPr>
        <p:spPr>
          <a:xfrm>
            <a:off x="1188357" y="5151666"/>
            <a:ext cx="982254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47218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5A3BF2-BCE9-47D7-B1C0-1F0E4936B6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92722E9-C3E4-48AF-996A-495AE659FA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C9E516-382B-4845-93BF-20C16EE0DB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DBD16-5BFB-4D9F-9646-C75D1B53BBB6}" type="datetimeFigureOut">
              <a:rPr lang="en-US" smtClean="0"/>
              <a:t>6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B96E16-F168-442A-843C-5D490D54B0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A61BEA-A969-437A-BD8B-CB1B709AD4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722274-0FAA-4649-AA4E-4210F4F321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0844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6528449-3E11-45FF-BF3A-651867603E7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572500" y="870625"/>
            <a:ext cx="2476499" cy="5029201"/>
          </a:xfrm>
        </p:spPr>
        <p:txBody>
          <a:bodyPr vert="eaVer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FC0EAB0-2DFA-4CBA-86B1-1826EF523D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143000" y="870625"/>
            <a:ext cx="7324928" cy="5029201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A22F89-E1F5-45D7-945A-8A2886C4BA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DBD16-5BFB-4D9F-9646-C75D1B53BBB6}" type="datetimeFigureOut">
              <a:rPr lang="en-US" smtClean="0"/>
              <a:t>6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7E7E82-5FB8-4289-AD0C-0BA788E147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5A4046-1A2C-41F5-A177-1C3919C205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722274-0FAA-4649-AA4E-4210F4F321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52512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full siz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pPr algn="r">
              <a:defRPr/>
            </a:pPr>
            <a:r>
              <a:rPr lang="de-DE">
                <a:solidFill>
                  <a:prstClr val="black">
                    <a:tint val="75000"/>
                  </a:prstClr>
                </a:solidFill>
              </a:rPr>
              <a:t>21/06/202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Investment Proposal Pitch By ChemWealth Partners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8D8DDEA4-1D91-494B-B76F-22F3D7C841E7}" type="slidenum">
              <a:rPr lang="de-DE" smtClean="0">
                <a:solidFill>
                  <a:srgbClr val="5186AA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5186AA"/>
              </a:solidFill>
            </a:endParaRP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7"/>
          </p:nvPr>
        </p:nvSpPr>
        <p:spPr bwMode="gray">
          <a:xfrm>
            <a:off x="0" y="0"/>
            <a:ext cx="12192000" cy="6273800"/>
          </a:xfrm>
          <a:custGeom>
            <a:avLst/>
            <a:gdLst/>
            <a:ahLst/>
            <a:cxnLst/>
            <a:rect l="l" t="t" r="r" b="b"/>
            <a:pathLst>
              <a:path w="9144000" h="6273800">
                <a:moveTo>
                  <a:pt x="0" y="0"/>
                </a:moveTo>
                <a:lnTo>
                  <a:pt x="9144000" y="0"/>
                </a:lnTo>
                <a:lnTo>
                  <a:pt x="9144000" y="326368"/>
                </a:lnTo>
                <a:lnTo>
                  <a:pt x="7020000" y="326368"/>
                </a:lnTo>
                <a:lnTo>
                  <a:pt x="7020000" y="1046368"/>
                </a:lnTo>
                <a:lnTo>
                  <a:pt x="9144000" y="1046368"/>
                </a:lnTo>
                <a:lnTo>
                  <a:pt x="9144000" y="6273800"/>
                </a:lnTo>
                <a:lnTo>
                  <a:pt x="0" y="627380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202841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ECD6F3-88F1-4195-8395-57AA096BB3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D8D06C-EB08-40B3-AFB3-A62F441122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03962F-B413-4C4C-A490-724DDB9E7D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DBD16-5BFB-4D9F-9646-C75D1B53BBB6}" type="datetimeFigureOut">
              <a:rPr lang="en-US" smtClean="0"/>
              <a:t>6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871813-4E87-4C04-835D-76246010B0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922BA3-033C-491E-A045-F0052AC19A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722274-0FAA-4649-AA4E-4210F4F321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9295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FE19AD-2EDD-4B4F-9F9E-46A444184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1709738"/>
            <a:ext cx="8520952" cy="2852737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EE5927-21D5-4EBA-A112-CAD1BD38BC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43000" y="4589466"/>
            <a:ext cx="8520952" cy="813266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EF0D16-9D87-4D76-A5A5-534E24B7DD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DBD16-5BFB-4D9F-9646-C75D1B53BBB6}" type="datetimeFigureOut">
              <a:rPr lang="en-US" smtClean="0"/>
              <a:t>6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65F387-5AAC-45D0-ABCE-B1CF4BC7E0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8AF6FE-0006-4F40-A7FB-E0FDBADF75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722274-0FAA-4649-AA4E-4210F4F321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8038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E8AADE-587E-4574-B21B-7ABDE5A236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2F9DA5-4DFB-4211-A58A-FFD842C27A6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143000" y="2339501"/>
            <a:ext cx="4798979" cy="35505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A99F26-66AF-4614-91CE-C93A24BAC2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50020" y="2339501"/>
            <a:ext cx="4798980" cy="35505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8F678E-59B5-4DF9-ABCB-506B9CB701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DBD16-5BFB-4D9F-9646-C75D1B53BBB6}" type="datetimeFigureOut">
              <a:rPr lang="en-US" smtClean="0"/>
              <a:t>6/3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8B50A53-317B-444A-9BA2-F69CDBF5DA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B269A1-B0FB-4C8F-B6AA-0718C92D3D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722274-0FAA-4649-AA4E-4210F4F321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3604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12BBBF-42B2-4A5D-B145-46983A5301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1133272"/>
            <a:ext cx="9905999" cy="84630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04BE44-5271-4B5D-B649-35E3AF20B4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42999" y="2067127"/>
            <a:ext cx="4798980" cy="710119"/>
          </a:xfrm>
        </p:spPr>
        <p:txBody>
          <a:bodyPr anchor="b">
            <a:normAutofit/>
          </a:bodyPr>
          <a:lstStyle>
            <a:lvl1pPr marL="0" indent="0">
              <a:buNone/>
              <a:defRPr sz="2000" b="0" cap="all" spc="3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7891E-0C0A-4688-97DD-C0715E3221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43001" y="2864795"/>
            <a:ext cx="4798978" cy="302530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75EAF30-3412-49B0-93D1-596CC2695B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50018" y="2067127"/>
            <a:ext cx="4798981" cy="710119"/>
          </a:xfrm>
        </p:spPr>
        <p:txBody>
          <a:bodyPr anchor="b">
            <a:normAutofit/>
          </a:bodyPr>
          <a:lstStyle>
            <a:lvl1pPr marL="0" indent="0">
              <a:buNone/>
              <a:defRPr sz="2000" b="0" cap="all" spc="3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707B9B7-F41C-4314-9F0C-BB84547FB8C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50019" y="2864795"/>
            <a:ext cx="4798982" cy="302530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421587F-6AFC-4906-86EB-6B0A86EEF3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DBD16-5BFB-4D9F-9646-C75D1B53BBB6}" type="datetimeFigureOut">
              <a:rPr lang="en-US" smtClean="0"/>
              <a:t>6/30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54BE2C5-583B-49BC-9864-B01EEF7987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39B236-45F5-4CC6-8D53-A6903A1CC8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722274-0FAA-4649-AA4E-4210F4F321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7346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36B206-0678-4577-B79F-760526A5FD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9300" y="1322615"/>
            <a:ext cx="8175171" cy="421277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6D5FCB8-AFD3-4801-BBD6-9548F4CF7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DBD16-5BFB-4D9F-9646-C75D1B53BBB6}" type="datetimeFigureOut">
              <a:rPr lang="en-US" smtClean="0"/>
              <a:t>6/3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6DACF8-CBC0-416B-B28E-EE18C42383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0C7421-FF49-4CE9-87D0-2B4FFE0E3D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722274-0FAA-4649-AA4E-4210F4F321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0520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D19CBFE-15AA-4447-9F9C-D8B0BEB242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DBD16-5BFB-4D9F-9646-C75D1B53BBB6}" type="datetimeFigureOut">
              <a:rPr lang="en-US" smtClean="0"/>
              <a:t>6/30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B48227-EC1E-4063-9682-891A2DB1A8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2C6A63-C3F4-4563-A542-9A41AC946C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722274-0FAA-4649-AA4E-4210F4F321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7579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6900C1-FE18-461C-801C-8626C77598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1600200"/>
            <a:ext cx="3932237" cy="1964986"/>
          </a:xfrm>
        </p:spPr>
        <p:txBody>
          <a:bodyPr anchor="b">
            <a:normAutofit/>
          </a:bodyPr>
          <a:lstStyle>
            <a:lvl1pPr>
              <a:lnSpc>
                <a:spcPct val="110000"/>
              </a:lnSpc>
              <a:defRPr sz="2400" cap="all" spc="3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14CFF3-3406-49E3-9D5A-1BE90FFA50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27451" y="987425"/>
            <a:ext cx="5421548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3D14FF-9082-4BBA-BC7A-F4C5B78599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43000" y="3662464"/>
            <a:ext cx="3932237" cy="2206523"/>
          </a:xfrm>
        </p:spPr>
        <p:txBody>
          <a:bodyPr/>
          <a:lstStyle>
            <a:lvl1pPr marL="0" indent="0">
              <a:buNone/>
              <a:defRPr sz="1600" i="1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5A2726-EB8E-4DF7-9A1B-F03BD8C717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DBD16-5BFB-4D9F-9646-C75D1B53BBB6}" type="datetimeFigureOut">
              <a:rPr lang="en-US" smtClean="0"/>
              <a:t>6/3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9929BE-611C-4FE6-B0A5-E0FF9DF969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7B90B32-1D0E-4BCD-8850-59EA235F7E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722274-0FAA-4649-AA4E-4210F4F321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85924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CA1460E-1069-4FCA-B04E-28F77C86104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13614" y="987425"/>
            <a:ext cx="5535386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138C1E-867B-4FE9-8783-9B1246AEB79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43000" y="3657601"/>
            <a:ext cx="3932236" cy="2211388"/>
          </a:xfrm>
        </p:spPr>
        <p:txBody>
          <a:bodyPr/>
          <a:lstStyle>
            <a:lvl1pPr marL="0" indent="0">
              <a:buNone/>
              <a:defRPr sz="1600" i="1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721568-4870-46F2-9F7E-F410702012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DBD16-5BFB-4D9F-9646-C75D1B53BBB6}" type="datetimeFigureOut">
              <a:rPr lang="en-US" smtClean="0"/>
              <a:t>6/3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B3CC65-0E73-45A1-9D4F-3F4559B3B6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8C58CD-9BC3-431E-A7B4-D596A7F06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722274-0FAA-4649-AA4E-4210F4F32167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68F756-D171-474C-8B1A-C818032F6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1600201"/>
            <a:ext cx="3932236" cy="1959428"/>
          </a:xfrm>
        </p:spPr>
        <p:txBody>
          <a:bodyPr anchor="b">
            <a:normAutofit/>
          </a:bodyPr>
          <a:lstStyle>
            <a:lvl1pPr>
              <a:lnSpc>
                <a:spcPct val="110000"/>
              </a:lnSpc>
              <a:defRPr sz="2400" cap="all" spc="3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17199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.xml"/><Relationship Id="rId7" Type="http://schemas.openxmlformats.org/officeDocument/2006/relationships/image" Target="../media/image3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D4FB263-5225-27B2-44B7-E856608BC4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475099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4FB263-5225-27B2-44B7-E856608BC4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: Shape 7">
            <a:extLst>
              <a:ext uri="{FF2B5EF4-FFF2-40B4-BE49-F238E27FC236}">
                <a16:creationId xmlns:a16="http://schemas.microsoft.com/office/drawing/2014/main" id="{91C2F78B-DEE8-4195-A196-DFC51BDADFF9}"/>
              </a:ext>
            </a:extLst>
          </p:cNvPr>
          <p:cNvSpPr/>
          <p:nvPr/>
        </p:nvSpPr>
        <p:spPr>
          <a:xfrm>
            <a:off x="9749268" y="4070878"/>
            <a:ext cx="2442733" cy="2787123"/>
          </a:xfrm>
          <a:custGeom>
            <a:avLst/>
            <a:gdLst>
              <a:gd name="connsiteX0" fmla="*/ 2442733 w 2442733"/>
              <a:gd name="connsiteY0" fmla="*/ 0 h 2787123"/>
              <a:gd name="connsiteX1" fmla="*/ 2442733 w 2442733"/>
              <a:gd name="connsiteY1" fmla="*/ 2787123 h 2787123"/>
              <a:gd name="connsiteX2" fmla="*/ 0 w 2442733"/>
              <a:gd name="connsiteY2" fmla="*/ 2787123 h 2787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42733" h="2787123">
                <a:moveTo>
                  <a:pt x="2442733" y="0"/>
                </a:moveTo>
                <a:lnTo>
                  <a:pt x="2442733" y="2787123"/>
                </a:lnTo>
                <a:lnTo>
                  <a:pt x="0" y="2787123"/>
                </a:lnTo>
                <a:close/>
              </a:path>
            </a:pathLst>
          </a:cu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A1D79D08-4BE8-4799-BE09-5078DFEE2256}"/>
              </a:ext>
            </a:extLst>
          </p:cNvPr>
          <p:cNvSpPr/>
          <p:nvPr/>
        </p:nvSpPr>
        <p:spPr>
          <a:xfrm rot="10800000">
            <a:off x="0" y="0"/>
            <a:ext cx="2442733" cy="2787123"/>
          </a:xfrm>
          <a:custGeom>
            <a:avLst/>
            <a:gdLst>
              <a:gd name="connsiteX0" fmla="*/ 2442733 w 2442733"/>
              <a:gd name="connsiteY0" fmla="*/ 0 h 2787123"/>
              <a:gd name="connsiteX1" fmla="*/ 2442733 w 2442733"/>
              <a:gd name="connsiteY1" fmla="*/ 2787123 h 2787123"/>
              <a:gd name="connsiteX2" fmla="*/ 0 w 2442733"/>
              <a:gd name="connsiteY2" fmla="*/ 2787123 h 2787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42733" h="2787123">
                <a:moveTo>
                  <a:pt x="2442733" y="0"/>
                </a:moveTo>
                <a:lnTo>
                  <a:pt x="2442733" y="2787123"/>
                </a:lnTo>
                <a:lnTo>
                  <a:pt x="0" y="2787123"/>
                </a:lnTo>
                <a:close/>
              </a:path>
            </a:pathLst>
          </a:cu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95D65A1-16CB-407F-993F-2A6D59BCC0C8}"/>
              </a:ext>
            </a:extLst>
          </p:cNvPr>
          <p:cNvCxnSpPr>
            <a:cxnSpLocks/>
          </p:cNvCxnSpPr>
          <p:nvPr/>
        </p:nvCxnSpPr>
        <p:spPr>
          <a:xfrm>
            <a:off x="1233837" y="6172200"/>
            <a:ext cx="976063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BA018A2-815D-41B0-A189-FDF7A5E888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872935"/>
            <a:ext cx="9905999" cy="13608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DFAE63-1276-4C7C-BFF5-F5DF1CDB23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43000" y="2332026"/>
            <a:ext cx="9905999" cy="35671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380268-2D73-487C-843B-51648AE181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88157" y="6356350"/>
            <a:ext cx="30933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3CADBD16-5BFB-4D9F-9646-C75D1B53BBB6}" type="datetimeFigureOut">
              <a:rPr lang="en-US" smtClean="0"/>
              <a:pPr/>
              <a:t>6/30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F61E6D-D51F-4BD7-B59D-19AF179177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3000" y="6356350"/>
            <a:ext cx="39591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7701B1-1C93-41C2-AEE1-815DEA51B9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23186" y="6356350"/>
            <a:ext cx="6258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C0722274-0FAA-4649-AA4E-4210F4F3216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706113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1" r:id="rId1"/>
    <p:sldLayoutId id="2147483670" r:id="rId2"/>
    <p:sldLayoutId id="2147483669" r:id="rId3"/>
    <p:sldLayoutId id="2147483668" r:id="rId4"/>
    <p:sldLayoutId id="2147483667" r:id="rId5"/>
    <p:sldLayoutId id="2147483666" r:id="rId6"/>
    <p:sldLayoutId id="2147483665" r:id="rId7"/>
    <p:sldLayoutId id="2147483664" r:id="rId8"/>
    <p:sldLayoutId id="2147483663" r:id="rId9"/>
    <p:sldLayoutId id="2147483662" r:id="rId10"/>
    <p:sldLayoutId id="2147483661" r:id="rId1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0" algn="l" defTabSz="914400" rtl="0" eaLnBrk="1" latinLnBrk="0" hangingPunct="1">
        <a:lnSpc>
          <a:spcPct val="120000"/>
        </a:lnSpc>
        <a:spcBef>
          <a:spcPts val="500"/>
        </a:spcBef>
        <a:buFontTx/>
        <a:buNone/>
        <a:defRPr sz="1800" i="1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02920" indent="0" algn="l" defTabSz="914400" rtl="0" eaLnBrk="1" latinLnBrk="0" hangingPunct="1">
        <a:lnSpc>
          <a:spcPct val="120000"/>
        </a:lnSpc>
        <a:spcBef>
          <a:spcPts val="500"/>
        </a:spcBef>
        <a:buFontTx/>
        <a:buNone/>
        <a:defRPr sz="1400" i="1" kern="1200">
          <a:solidFill>
            <a:schemeClr val="tx1"/>
          </a:solidFill>
          <a:latin typeface="+mn-lt"/>
          <a:ea typeface="+mn-ea"/>
          <a:cs typeface="+mn-cs"/>
        </a:defRPr>
      </a:lvl4pPr>
      <a:lvl5pPr marL="73152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E961429-F7FB-FC9F-C9B8-021B6AA100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961429-F7FB-FC9F-C9B8-021B6AA100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6" name="Group 165"/>
          <p:cNvGrpSpPr>
            <a:grpSpLocks noChangeAspect="1"/>
          </p:cNvGrpSpPr>
          <p:nvPr/>
        </p:nvGrpSpPr>
        <p:grpSpPr bwMode="gray">
          <a:xfrm>
            <a:off x="9640085" y="578339"/>
            <a:ext cx="2160000" cy="233537"/>
            <a:chOff x="762000" y="-815975"/>
            <a:chExt cx="2962275" cy="427037"/>
          </a:xfrm>
        </p:grpSpPr>
        <p:sp>
          <p:nvSpPr>
            <p:cNvPr id="167" name="Rectangle 317"/>
            <p:cNvSpPr>
              <a:spLocks noChangeArrowheads="1"/>
            </p:cNvSpPr>
            <p:nvPr/>
          </p:nvSpPr>
          <p:spPr bwMode="gray">
            <a:xfrm>
              <a:off x="762000" y="-598488"/>
              <a:ext cx="2962275" cy="11112"/>
            </a:xfrm>
            <a:prstGeom prst="rect">
              <a:avLst/>
            </a:prstGeom>
            <a:solidFill>
              <a:srgbClr val="1B18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68" name="Freeform 318"/>
            <p:cNvSpPr>
              <a:spLocks/>
            </p:cNvSpPr>
            <p:nvPr/>
          </p:nvSpPr>
          <p:spPr bwMode="gray">
            <a:xfrm>
              <a:off x="762000" y="-815975"/>
              <a:ext cx="236538" cy="206375"/>
            </a:xfrm>
            <a:custGeom>
              <a:avLst/>
              <a:gdLst>
                <a:gd name="T0" fmla="*/ 6 w 63"/>
                <a:gd name="T1" fmla="*/ 48 h 55"/>
                <a:gd name="T2" fmla="*/ 3 w 63"/>
                <a:gd name="T3" fmla="*/ 54 h 55"/>
                <a:gd name="T4" fmla="*/ 1 w 63"/>
                <a:gd name="T5" fmla="*/ 54 h 55"/>
                <a:gd name="T6" fmla="*/ 0 w 63"/>
                <a:gd name="T7" fmla="*/ 55 h 55"/>
                <a:gd name="T8" fmla="*/ 2 w 63"/>
                <a:gd name="T9" fmla="*/ 55 h 55"/>
                <a:gd name="T10" fmla="*/ 8 w 63"/>
                <a:gd name="T11" fmla="*/ 55 h 55"/>
                <a:gd name="T12" fmla="*/ 14 w 63"/>
                <a:gd name="T13" fmla="*/ 55 h 55"/>
                <a:gd name="T14" fmla="*/ 15 w 63"/>
                <a:gd name="T15" fmla="*/ 55 h 55"/>
                <a:gd name="T16" fmla="*/ 14 w 63"/>
                <a:gd name="T17" fmla="*/ 54 h 55"/>
                <a:gd name="T18" fmla="*/ 12 w 63"/>
                <a:gd name="T19" fmla="*/ 54 h 55"/>
                <a:gd name="T20" fmla="*/ 10 w 63"/>
                <a:gd name="T21" fmla="*/ 51 h 55"/>
                <a:gd name="T22" fmla="*/ 10 w 63"/>
                <a:gd name="T23" fmla="*/ 48 h 55"/>
                <a:gd name="T24" fmla="*/ 13 w 63"/>
                <a:gd name="T25" fmla="*/ 20 h 55"/>
                <a:gd name="T26" fmla="*/ 14 w 63"/>
                <a:gd name="T27" fmla="*/ 20 h 55"/>
                <a:gd name="T28" fmla="*/ 20 w 63"/>
                <a:gd name="T29" fmla="*/ 35 h 55"/>
                <a:gd name="T30" fmla="*/ 27 w 63"/>
                <a:gd name="T31" fmla="*/ 52 h 55"/>
                <a:gd name="T32" fmla="*/ 29 w 63"/>
                <a:gd name="T33" fmla="*/ 55 h 55"/>
                <a:gd name="T34" fmla="*/ 31 w 63"/>
                <a:gd name="T35" fmla="*/ 51 h 55"/>
                <a:gd name="T36" fmla="*/ 44 w 63"/>
                <a:gd name="T37" fmla="*/ 19 h 55"/>
                <a:gd name="T38" fmla="*/ 45 w 63"/>
                <a:gd name="T39" fmla="*/ 19 h 55"/>
                <a:gd name="T40" fmla="*/ 48 w 63"/>
                <a:gd name="T41" fmla="*/ 50 h 55"/>
                <a:gd name="T42" fmla="*/ 48 w 63"/>
                <a:gd name="T43" fmla="*/ 53 h 55"/>
                <a:gd name="T44" fmla="*/ 47 w 63"/>
                <a:gd name="T45" fmla="*/ 54 h 55"/>
                <a:gd name="T46" fmla="*/ 49 w 63"/>
                <a:gd name="T47" fmla="*/ 55 h 55"/>
                <a:gd name="T48" fmla="*/ 61 w 63"/>
                <a:gd name="T49" fmla="*/ 55 h 55"/>
                <a:gd name="T50" fmla="*/ 63 w 63"/>
                <a:gd name="T51" fmla="*/ 55 h 55"/>
                <a:gd name="T52" fmla="*/ 62 w 63"/>
                <a:gd name="T53" fmla="*/ 54 h 55"/>
                <a:gd name="T54" fmla="*/ 58 w 63"/>
                <a:gd name="T55" fmla="*/ 53 h 55"/>
                <a:gd name="T56" fmla="*/ 55 w 63"/>
                <a:gd name="T57" fmla="*/ 46 h 55"/>
                <a:gd name="T58" fmla="*/ 50 w 63"/>
                <a:gd name="T59" fmla="*/ 2 h 55"/>
                <a:gd name="T60" fmla="*/ 49 w 63"/>
                <a:gd name="T61" fmla="*/ 0 h 55"/>
                <a:gd name="T62" fmla="*/ 47 w 63"/>
                <a:gd name="T63" fmla="*/ 1 h 55"/>
                <a:gd name="T64" fmla="*/ 31 w 63"/>
                <a:gd name="T65" fmla="*/ 42 h 55"/>
                <a:gd name="T66" fmla="*/ 14 w 63"/>
                <a:gd name="T67" fmla="*/ 2 h 55"/>
                <a:gd name="T68" fmla="*/ 13 w 63"/>
                <a:gd name="T69" fmla="*/ 0 h 55"/>
                <a:gd name="T70" fmla="*/ 12 w 63"/>
                <a:gd name="T71" fmla="*/ 2 h 55"/>
                <a:gd name="T72" fmla="*/ 6 w 63"/>
                <a:gd name="T73" fmla="*/ 4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3" h="55">
                  <a:moveTo>
                    <a:pt x="6" y="48"/>
                  </a:moveTo>
                  <a:cubicBezTo>
                    <a:pt x="5" y="51"/>
                    <a:pt x="5" y="53"/>
                    <a:pt x="3" y="54"/>
                  </a:cubicBezTo>
                  <a:cubicBezTo>
                    <a:pt x="2" y="54"/>
                    <a:pt x="2" y="54"/>
                    <a:pt x="1" y="54"/>
                  </a:cubicBezTo>
                  <a:cubicBezTo>
                    <a:pt x="1" y="54"/>
                    <a:pt x="0" y="54"/>
                    <a:pt x="0" y="55"/>
                  </a:cubicBezTo>
                  <a:cubicBezTo>
                    <a:pt x="0" y="55"/>
                    <a:pt x="1" y="55"/>
                    <a:pt x="2" y="55"/>
                  </a:cubicBezTo>
                  <a:cubicBezTo>
                    <a:pt x="3" y="55"/>
                    <a:pt x="6" y="55"/>
                    <a:pt x="8" y="55"/>
                  </a:cubicBezTo>
                  <a:cubicBezTo>
                    <a:pt x="9" y="55"/>
                    <a:pt x="11" y="55"/>
                    <a:pt x="14" y="55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5" y="54"/>
                    <a:pt x="15" y="54"/>
                    <a:pt x="14" y="54"/>
                  </a:cubicBezTo>
                  <a:cubicBezTo>
                    <a:pt x="14" y="54"/>
                    <a:pt x="13" y="54"/>
                    <a:pt x="12" y="54"/>
                  </a:cubicBezTo>
                  <a:cubicBezTo>
                    <a:pt x="11" y="53"/>
                    <a:pt x="10" y="53"/>
                    <a:pt x="10" y="51"/>
                  </a:cubicBezTo>
                  <a:cubicBezTo>
                    <a:pt x="10" y="50"/>
                    <a:pt x="10" y="49"/>
                    <a:pt x="10" y="48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6" y="25"/>
                    <a:pt x="19" y="34"/>
                    <a:pt x="20" y="35"/>
                  </a:cubicBezTo>
                  <a:cubicBezTo>
                    <a:pt x="21" y="37"/>
                    <a:pt x="25" y="48"/>
                    <a:pt x="27" y="52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30" y="55"/>
                    <a:pt x="30" y="55"/>
                    <a:pt x="31" y="51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49" y="52"/>
                    <a:pt x="48" y="53"/>
                    <a:pt x="48" y="53"/>
                  </a:cubicBezTo>
                  <a:cubicBezTo>
                    <a:pt x="48" y="54"/>
                    <a:pt x="47" y="54"/>
                    <a:pt x="47" y="54"/>
                  </a:cubicBezTo>
                  <a:cubicBezTo>
                    <a:pt x="47" y="55"/>
                    <a:pt x="48" y="55"/>
                    <a:pt x="49" y="55"/>
                  </a:cubicBezTo>
                  <a:cubicBezTo>
                    <a:pt x="52" y="55"/>
                    <a:pt x="60" y="55"/>
                    <a:pt x="61" y="55"/>
                  </a:cubicBezTo>
                  <a:cubicBezTo>
                    <a:pt x="62" y="55"/>
                    <a:pt x="63" y="55"/>
                    <a:pt x="63" y="55"/>
                  </a:cubicBezTo>
                  <a:cubicBezTo>
                    <a:pt x="63" y="54"/>
                    <a:pt x="63" y="54"/>
                    <a:pt x="62" y="54"/>
                  </a:cubicBezTo>
                  <a:cubicBezTo>
                    <a:pt x="61" y="54"/>
                    <a:pt x="60" y="54"/>
                    <a:pt x="58" y="53"/>
                  </a:cubicBezTo>
                  <a:cubicBezTo>
                    <a:pt x="56" y="53"/>
                    <a:pt x="56" y="51"/>
                    <a:pt x="55" y="46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0" y="0"/>
                    <a:pt x="49" y="0"/>
                    <a:pt x="49" y="0"/>
                  </a:cubicBezTo>
                  <a:cubicBezTo>
                    <a:pt x="48" y="0"/>
                    <a:pt x="48" y="0"/>
                    <a:pt x="47" y="1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2" y="0"/>
                    <a:pt x="12" y="2"/>
                  </a:cubicBezTo>
                  <a:lnTo>
                    <a:pt x="6" y="48"/>
                  </a:lnTo>
                  <a:close/>
                </a:path>
              </a:pathLst>
            </a:custGeom>
            <a:solidFill>
              <a:srgbClr val="9B9C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69" name="Freeform 319"/>
            <p:cNvSpPr>
              <a:spLocks noEditPoints="1"/>
            </p:cNvSpPr>
            <p:nvPr/>
          </p:nvSpPr>
          <p:spPr bwMode="gray">
            <a:xfrm>
              <a:off x="993775" y="-815975"/>
              <a:ext cx="187325" cy="206375"/>
            </a:xfrm>
            <a:custGeom>
              <a:avLst/>
              <a:gdLst>
                <a:gd name="T0" fmla="*/ 30 w 50"/>
                <a:gd name="T1" fmla="*/ 37 h 55"/>
                <a:gd name="T2" fmla="*/ 30 w 50"/>
                <a:gd name="T3" fmla="*/ 37 h 55"/>
                <a:gd name="T4" fmla="*/ 35 w 50"/>
                <a:gd name="T5" fmla="*/ 52 h 55"/>
                <a:gd name="T6" fmla="*/ 35 w 50"/>
                <a:gd name="T7" fmla="*/ 54 h 55"/>
                <a:gd name="T8" fmla="*/ 34 w 50"/>
                <a:gd name="T9" fmla="*/ 55 h 55"/>
                <a:gd name="T10" fmla="*/ 36 w 50"/>
                <a:gd name="T11" fmla="*/ 55 h 55"/>
                <a:gd name="T12" fmla="*/ 47 w 50"/>
                <a:gd name="T13" fmla="*/ 55 h 55"/>
                <a:gd name="T14" fmla="*/ 50 w 50"/>
                <a:gd name="T15" fmla="*/ 55 h 55"/>
                <a:gd name="T16" fmla="*/ 49 w 50"/>
                <a:gd name="T17" fmla="*/ 54 h 55"/>
                <a:gd name="T18" fmla="*/ 47 w 50"/>
                <a:gd name="T19" fmla="*/ 54 h 55"/>
                <a:gd name="T20" fmla="*/ 41 w 50"/>
                <a:gd name="T21" fmla="*/ 46 h 55"/>
                <a:gd name="T22" fmla="*/ 26 w 50"/>
                <a:gd name="T23" fmla="*/ 2 h 55"/>
                <a:gd name="T24" fmla="*/ 25 w 50"/>
                <a:gd name="T25" fmla="*/ 0 h 55"/>
                <a:gd name="T26" fmla="*/ 23 w 50"/>
                <a:gd name="T27" fmla="*/ 3 h 55"/>
                <a:gd name="T28" fmla="*/ 8 w 50"/>
                <a:gd name="T29" fmla="*/ 47 h 55"/>
                <a:gd name="T30" fmla="*/ 3 w 50"/>
                <a:gd name="T31" fmla="*/ 54 h 55"/>
                <a:gd name="T32" fmla="*/ 1 w 50"/>
                <a:gd name="T33" fmla="*/ 54 h 55"/>
                <a:gd name="T34" fmla="*/ 0 w 50"/>
                <a:gd name="T35" fmla="*/ 55 h 55"/>
                <a:gd name="T36" fmla="*/ 1 w 50"/>
                <a:gd name="T37" fmla="*/ 55 h 55"/>
                <a:gd name="T38" fmla="*/ 8 w 50"/>
                <a:gd name="T39" fmla="*/ 55 h 55"/>
                <a:gd name="T40" fmla="*/ 15 w 50"/>
                <a:gd name="T41" fmla="*/ 55 h 55"/>
                <a:gd name="T42" fmla="*/ 16 w 50"/>
                <a:gd name="T43" fmla="*/ 55 h 55"/>
                <a:gd name="T44" fmla="*/ 15 w 50"/>
                <a:gd name="T45" fmla="*/ 54 h 55"/>
                <a:gd name="T46" fmla="*/ 14 w 50"/>
                <a:gd name="T47" fmla="*/ 54 h 55"/>
                <a:gd name="T48" fmla="*/ 12 w 50"/>
                <a:gd name="T49" fmla="*/ 52 h 55"/>
                <a:gd name="T50" fmla="*/ 12 w 50"/>
                <a:gd name="T51" fmla="*/ 47 h 55"/>
                <a:gd name="T52" fmla="*/ 16 w 50"/>
                <a:gd name="T53" fmla="*/ 37 h 55"/>
                <a:gd name="T54" fmla="*/ 16 w 50"/>
                <a:gd name="T55" fmla="*/ 37 h 55"/>
                <a:gd name="T56" fmla="*/ 30 w 50"/>
                <a:gd name="T57" fmla="*/ 37 h 55"/>
                <a:gd name="T58" fmla="*/ 18 w 50"/>
                <a:gd name="T59" fmla="*/ 33 h 55"/>
                <a:gd name="T60" fmla="*/ 17 w 50"/>
                <a:gd name="T61" fmla="*/ 33 h 55"/>
                <a:gd name="T62" fmla="*/ 23 w 50"/>
                <a:gd name="T63" fmla="*/ 15 h 55"/>
                <a:gd name="T64" fmla="*/ 23 w 50"/>
                <a:gd name="T65" fmla="*/ 14 h 55"/>
                <a:gd name="T66" fmla="*/ 24 w 50"/>
                <a:gd name="T67" fmla="*/ 15 h 55"/>
                <a:gd name="T68" fmla="*/ 29 w 50"/>
                <a:gd name="T69" fmla="*/ 33 h 55"/>
                <a:gd name="T70" fmla="*/ 29 w 50"/>
                <a:gd name="T71" fmla="*/ 33 h 55"/>
                <a:gd name="T72" fmla="*/ 18 w 50"/>
                <a:gd name="T73" fmla="*/ 3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0" h="55">
                  <a:moveTo>
                    <a:pt x="30" y="37"/>
                  </a:moveTo>
                  <a:cubicBezTo>
                    <a:pt x="30" y="37"/>
                    <a:pt x="30" y="37"/>
                    <a:pt x="30" y="37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6" y="53"/>
                    <a:pt x="35" y="54"/>
                    <a:pt x="35" y="54"/>
                  </a:cubicBezTo>
                  <a:cubicBezTo>
                    <a:pt x="34" y="54"/>
                    <a:pt x="34" y="54"/>
                    <a:pt x="34" y="55"/>
                  </a:cubicBezTo>
                  <a:cubicBezTo>
                    <a:pt x="34" y="55"/>
                    <a:pt x="35" y="55"/>
                    <a:pt x="36" y="55"/>
                  </a:cubicBezTo>
                  <a:cubicBezTo>
                    <a:pt x="41" y="55"/>
                    <a:pt x="45" y="55"/>
                    <a:pt x="47" y="55"/>
                  </a:cubicBezTo>
                  <a:cubicBezTo>
                    <a:pt x="49" y="55"/>
                    <a:pt x="50" y="55"/>
                    <a:pt x="50" y="55"/>
                  </a:cubicBezTo>
                  <a:cubicBezTo>
                    <a:pt x="50" y="54"/>
                    <a:pt x="50" y="54"/>
                    <a:pt x="49" y="54"/>
                  </a:cubicBezTo>
                  <a:cubicBezTo>
                    <a:pt x="48" y="54"/>
                    <a:pt x="48" y="54"/>
                    <a:pt x="47" y="54"/>
                  </a:cubicBezTo>
                  <a:cubicBezTo>
                    <a:pt x="45" y="53"/>
                    <a:pt x="44" y="52"/>
                    <a:pt x="41" y="46"/>
                  </a:cubicBezTo>
                  <a:cubicBezTo>
                    <a:pt x="37" y="35"/>
                    <a:pt x="28" y="6"/>
                    <a:pt x="26" y="2"/>
                  </a:cubicBezTo>
                  <a:cubicBezTo>
                    <a:pt x="26" y="0"/>
                    <a:pt x="25" y="0"/>
                    <a:pt x="25" y="0"/>
                  </a:cubicBezTo>
                  <a:cubicBezTo>
                    <a:pt x="24" y="0"/>
                    <a:pt x="24" y="1"/>
                    <a:pt x="23" y="3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7" y="51"/>
                    <a:pt x="5" y="53"/>
                    <a:pt x="3" y="54"/>
                  </a:cubicBezTo>
                  <a:cubicBezTo>
                    <a:pt x="2" y="54"/>
                    <a:pt x="1" y="54"/>
                    <a:pt x="1" y="54"/>
                  </a:cubicBezTo>
                  <a:cubicBezTo>
                    <a:pt x="0" y="54"/>
                    <a:pt x="0" y="54"/>
                    <a:pt x="0" y="55"/>
                  </a:cubicBezTo>
                  <a:cubicBezTo>
                    <a:pt x="0" y="55"/>
                    <a:pt x="0" y="55"/>
                    <a:pt x="1" y="55"/>
                  </a:cubicBezTo>
                  <a:cubicBezTo>
                    <a:pt x="4" y="55"/>
                    <a:pt x="8" y="55"/>
                    <a:pt x="8" y="55"/>
                  </a:cubicBezTo>
                  <a:cubicBezTo>
                    <a:pt x="10" y="55"/>
                    <a:pt x="13" y="55"/>
                    <a:pt x="15" y="55"/>
                  </a:cubicBezTo>
                  <a:cubicBezTo>
                    <a:pt x="15" y="55"/>
                    <a:pt x="16" y="55"/>
                    <a:pt x="16" y="55"/>
                  </a:cubicBezTo>
                  <a:cubicBezTo>
                    <a:pt x="16" y="54"/>
                    <a:pt x="16" y="54"/>
                    <a:pt x="15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2" y="54"/>
                    <a:pt x="12" y="53"/>
                    <a:pt x="12" y="52"/>
                  </a:cubicBezTo>
                  <a:cubicBezTo>
                    <a:pt x="12" y="51"/>
                    <a:pt x="12" y="49"/>
                    <a:pt x="12" y="4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7"/>
                  </a:cubicBezTo>
                  <a:lnTo>
                    <a:pt x="30" y="37"/>
                  </a:lnTo>
                  <a:close/>
                  <a:moveTo>
                    <a:pt x="18" y="33"/>
                  </a:moveTo>
                  <a:cubicBezTo>
                    <a:pt x="17" y="33"/>
                    <a:pt x="17" y="33"/>
                    <a:pt x="17" y="33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5"/>
                    <a:pt x="23" y="14"/>
                    <a:pt x="23" y="14"/>
                  </a:cubicBezTo>
                  <a:cubicBezTo>
                    <a:pt x="23" y="14"/>
                    <a:pt x="23" y="15"/>
                    <a:pt x="24" y="15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29" y="33"/>
                    <a:pt x="29" y="33"/>
                    <a:pt x="29" y="33"/>
                  </a:cubicBezTo>
                  <a:lnTo>
                    <a:pt x="18" y="33"/>
                  </a:lnTo>
                  <a:close/>
                </a:path>
              </a:pathLst>
            </a:custGeom>
            <a:solidFill>
              <a:srgbClr val="9B9C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70" name="Freeform 320"/>
            <p:cNvSpPr>
              <a:spLocks/>
            </p:cNvSpPr>
            <p:nvPr/>
          </p:nvSpPr>
          <p:spPr bwMode="gray">
            <a:xfrm>
              <a:off x="1189038" y="-815975"/>
              <a:ext cx="190500" cy="209550"/>
            </a:xfrm>
            <a:custGeom>
              <a:avLst/>
              <a:gdLst>
                <a:gd name="T0" fmla="*/ 10 w 51"/>
                <a:gd name="T1" fmla="*/ 16 h 56"/>
                <a:gd name="T2" fmla="*/ 10 w 51"/>
                <a:gd name="T3" fmla="*/ 16 h 56"/>
                <a:gd name="T4" fmla="*/ 25 w 51"/>
                <a:gd name="T5" fmla="*/ 34 h 56"/>
                <a:gd name="T6" fmla="*/ 43 w 51"/>
                <a:gd name="T7" fmla="*/ 55 h 56"/>
                <a:gd name="T8" fmla="*/ 45 w 51"/>
                <a:gd name="T9" fmla="*/ 56 h 56"/>
                <a:gd name="T10" fmla="*/ 46 w 51"/>
                <a:gd name="T11" fmla="*/ 54 h 56"/>
                <a:gd name="T12" fmla="*/ 46 w 51"/>
                <a:gd name="T13" fmla="*/ 9 h 56"/>
                <a:gd name="T14" fmla="*/ 48 w 51"/>
                <a:gd name="T15" fmla="*/ 3 h 56"/>
                <a:gd name="T16" fmla="*/ 50 w 51"/>
                <a:gd name="T17" fmla="*/ 3 h 56"/>
                <a:gd name="T18" fmla="*/ 51 w 51"/>
                <a:gd name="T19" fmla="*/ 2 h 56"/>
                <a:gd name="T20" fmla="*/ 50 w 51"/>
                <a:gd name="T21" fmla="*/ 1 h 56"/>
                <a:gd name="T22" fmla="*/ 44 w 51"/>
                <a:gd name="T23" fmla="*/ 2 h 56"/>
                <a:gd name="T24" fmla="*/ 37 w 51"/>
                <a:gd name="T25" fmla="*/ 1 h 56"/>
                <a:gd name="T26" fmla="*/ 35 w 51"/>
                <a:gd name="T27" fmla="*/ 2 h 56"/>
                <a:gd name="T28" fmla="*/ 36 w 51"/>
                <a:gd name="T29" fmla="*/ 3 h 56"/>
                <a:gd name="T30" fmla="*/ 39 w 51"/>
                <a:gd name="T31" fmla="*/ 3 h 56"/>
                <a:gd name="T32" fmla="*/ 41 w 51"/>
                <a:gd name="T33" fmla="*/ 9 h 56"/>
                <a:gd name="T34" fmla="*/ 42 w 51"/>
                <a:gd name="T35" fmla="*/ 42 h 56"/>
                <a:gd name="T36" fmla="*/ 42 w 51"/>
                <a:gd name="T37" fmla="*/ 42 h 56"/>
                <a:gd name="T38" fmla="*/ 28 w 51"/>
                <a:gd name="T39" fmla="*/ 25 h 56"/>
                <a:gd name="T40" fmla="*/ 10 w 51"/>
                <a:gd name="T41" fmla="*/ 2 h 56"/>
                <a:gd name="T42" fmla="*/ 7 w 51"/>
                <a:gd name="T43" fmla="*/ 0 h 56"/>
                <a:gd name="T44" fmla="*/ 7 w 51"/>
                <a:gd name="T45" fmla="*/ 3 h 56"/>
                <a:gd name="T46" fmla="*/ 6 w 51"/>
                <a:gd name="T47" fmla="*/ 45 h 56"/>
                <a:gd name="T48" fmla="*/ 4 w 51"/>
                <a:gd name="T49" fmla="*/ 54 h 56"/>
                <a:gd name="T50" fmla="*/ 1 w 51"/>
                <a:gd name="T51" fmla="*/ 54 h 56"/>
                <a:gd name="T52" fmla="*/ 0 w 51"/>
                <a:gd name="T53" fmla="*/ 55 h 56"/>
                <a:gd name="T54" fmla="*/ 2 w 51"/>
                <a:gd name="T55" fmla="*/ 55 h 56"/>
                <a:gd name="T56" fmla="*/ 8 w 51"/>
                <a:gd name="T57" fmla="*/ 55 h 56"/>
                <a:gd name="T58" fmla="*/ 16 w 51"/>
                <a:gd name="T59" fmla="*/ 55 h 56"/>
                <a:gd name="T60" fmla="*/ 17 w 51"/>
                <a:gd name="T61" fmla="*/ 55 h 56"/>
                <a:gd name="T62" fmla="*/ 16 w 51"/>
                <a:gd name="T63" fmla="*/ 54 h 56"/>
                <a:gd name="T64" fmla="*/ 13 w 51"/>
                <a:gd name="T65" fmla="*/ 54 h 56"/>
                <a:gd name="T66" fmla="*/ 11 w 51"/>
                <a:gd name="T67" fmla="*/ 46 h 56"/>
                <a:gd name="T68" fmla="*/ 10 w 51"/>
                <a:gd name="T69" fmla="*/ 1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" h="56">
                  <a:moveTo>
                    <a:pt x="10" y="16"/>
                  </a:moveTo>
                  <a:cubicBezTo>
                    <a:pt x="10" y="16"/>
                    <a:pt x="10" y="16"/>
                    <a:pt x="10" y="16"/>
                  </a:cubicBezTo>
                  <a:cubicBezTo>
                    <a:pt x="12" y="17"/>
                    <a:pt x="18" y="26"/>
                    <a:pt x="25" y="34"/>
                  </a:cubicBezTo>
                  <a:cubicBezTo>
                    <a:pt x="31" y="41"/>
                    <a:pt x="39" y="50"/>
                    <a:pt x="43" y="55"/>
                  </a:cubicBezTo>
                  <a:cubicBezTo>
                    <a:pt x="43" y="55"/>
                    <a:pt x="44" y="56"/>
                    <a:pt x="45" y="56"/>
                  </a:cubicBezTo>
                  <a:cubicBezTo>
                    <a:pt x="45" y="56"/>
                    <a:pt x="46" y="56"/>
                    <a:pt x="46" y="54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46" y="5"/>
                    <a:pt x="47" y="3"/>
                    <a:pt x="48" y="3"/>
                  </a:cubicBezTo>
                  <a:cubicBezTo>
                    <a:pt x="49" y="3"/>
                    <a:pt x="50" y="3"/>
                    <a:pt x="50" y="3"/>
                  </a:cubicBezTo>
                  <a:cubicBezTo>
                    <a:pt x="51" y="3"/>
                    <a:pt x="51" y="2"/>
                    <a:pt x="51" y="2"/>
                  </a:cubicBezTo>
                  <a:cubicBezTo>
                    <a:pt x="51" y="1"/>
                    <a:pt x="51" y="1"/>
                    <a:pt x="50" y="1"/>
                  </a:cubicBezTo>
                  <a:cubicBezTo>
                    <a:pt x="47" y="1"/>
                    <a:pt x="45" y="2"/>
                    <a:pt x="44" y="2"/>
                  </a:cubicBezTo>
                  <a:cubicBezTo>
                    <a:pt x="43" y="2"/>
                    <a:pt x="40" y="1"/>
                    <a:pt x="37" y="1"/>
                  </a:cubicBezTo>
                  <a:cubicBezTo>
                    <a:pt x="36" y="1"/>
                    <a:pt x="35" y="1"/>
                    <a:pt x="35" y="2"/>
                  </a:cubicBezTo>
                  <a:cubicBezTo>
                    <a:pt x="35" y="2"/>
                    <a:pt x="35" y="3"/>
                    <a:pt x="36" y="3"/>
                  </a:cubicBezTo>
                  <a:cubicBezTo>
                    <a:pt x="37" y="3"/>
                    <a:pt x="38" y="3"/>
                    <a:pt x="39" y="3"/>
                  </a:cubicBezTo>
                  <a:cubicBezTo>
                    <a:pt x="41" y="4"/>
                    <a:pt x="41" y="5"/>
                    <a:pt x="41" y="9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1" y="40"/>
                    <a:pt x="32" y="30"/>
                    <a:pt x="28" y="25"/>
                  </a:cubicBezTo>
                  <a:cubicBezTo>
                    <a:pt x="20" y="15"/>
                    <a:pt x="10" y="3"/>
                    <a:pt x="10" y="2"/>
                  </a:cubicBezTo>
                  <a:cubicBezTo>
                    <a:pt x="9" y="1"/>
                    <a:pt x="8" y="0"/>
                    <a:pt x="7" y="0"/>
                  </a:cubicBezTo>
                  <a:cubicBezTo>
                    <a:pt x="7" y="0"/>
                    <a:pt x="7" y="1"/>
                    <a:pt x="7" y="3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51"/>
                    <a:pt x="6" y="53"/>
                    <a:pt x="4" y="54"/>
                  </a:cubicBezTo>
                  <a:cubicBezTo>
                    <a:pt x="3" y="54"/>
                    <a:pt x="2" y="54"/>
                    <a:pt x="1" y="54"/>
                  </a:cubicBezTo>
                  <a:cubicBezTo>
                    <a:pt x="1" y="54"/>
                    <a:pt x="0" y="54"/>
                    <a:pt x="0" y="55"/>
                  </a:cubicBezTo>
                  <a:cubicBezTo>
                    <a:pt x="0" y="55"/>
                    <a:pt x="1" y="55"/>
                    <a:pt x="2" y="55"/>
                  </a:cubicBezTo>
                  <a:cubicBezTo>
                    <a:pt x="5" y="55"/>
                    <a:pt x="8" y="55"/>
                    <a:pt x="8" y="55"/>
                  </a:cubicBezTo>
                  <a:cubicBezTo>
                    <a:pt x="9" y="55"/>
                    <a:pt x="12" y="55"/>
                    <a:pt x="16" y="55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54"/>
                    <a:pt x="17" y="54"/>
                    <a:pt x="16" y="54"/>
                  </a:cubicBezTo>
                  <a:cubicBezTo>
                    <a:pt x="15" y="54"/>
                    <a:pt x="14" y="54"/>
                    <a:pt x="13" y="54"/>
                  </a:cubicBezTo>
                  <a:cubicBezTo>
                    <a:pt x="12" y="53"/>
                    <a:pt x="11" y="51"/>
                    <a:pt x="11" y="46"/>
                  </a:cubicBezTo>
                  <a:lnTo>
                    <a:pt x="10" y="16"/>
                  </a:lnTo>
                  <a:close/>
                </a:path>
              </a:pathLst>
            </a:custGeom>
            <a:solidFill>
              <a:srgbClr val="9B9C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71" name="Freeform 321"/>
            <p:cNvSpPr>
              <a:spLocks/>
            </p:cNvSpPr>
            <p:nvPr/>
          </p:nvSpPr>
          <p:spPr bwMode="gray">
            <a:xfrm>
              <a:off x="1417638" y="-815975"/>
              <a:ext cx="192088" cy="209550"/>
            </a:xfrm>
            <a:custGeom>
              <a:avLst/>
              <a:gdLst>
                <a:gd name="T0" fmla="*/ 10 w 51"/>
                <a:gd name="T1" fmla="*/ 16 h 56"/>
                <a:gd name="T2" fmla="*/ 10 w 51"/>
                <a:gd name="T3" fmla="*/ 16 h 56"/>
                <a:gd name="T4" fmla="*/ 24 w 51"/>
                <a:gd name="T5" fmla="*/ 34 h 56"/>
                <a:gd name="T6" fmla="*/ 42 w 51"/>
                <a:gd name="T7" fmla="*/ 55 h 56"/>
                <a:gd name="T8" fmla="*/ 44 w 51"/>
                <a:gd name="T9" fmla="*/ 56 h 56"/>
                <a:gd name="T10" fmla="*/ 45 w 51"/>
                <a:gd name="T11" fmla="*/ 54 h 56"/>
                <a:gd name="T12" fmla="*/ 46 w 51"/>
                <a:gd name="T13" fmla="*/ 9 h 56"/>
                <a:gd name="T14" fmla="*/ 48 w 51"/>
                <a:gd name="T15" fmla="*/ 3 h 56"/>
                <a:gd name="T16" fmla="*/ 50 w 51"/>
                <a:gd name="T17" fmla="*/ 3 h 56"/>
                <a:gd name="T18" fmla="*/ 51 w 51"/>
                <a:gd name="T19" fmla="*/ 2 h 56"/>
                <a:gd name="T20" fmla="*/ 50 w 51"/>
                <a:gd name="T21" fmla="*/ 1 h 56"/>
                <a:gd name="T22" fmla="*/ 44 w 51"/>
                <a:gd name="T23" fmla="*/ 2 h 56"/>
                <a:gd name="T24" fmla="*/ 36 w 51"/>
                <a:gd name="T25" fmla="*/ 1 h 56"/>
                <a:gd name="T26" fmla="*/ 35 w 51"/>
                <a:gd name="T27" fmla="*/ 2 h 56"/>
                <a:gd name="T28" fmla="*/ 36 w 51"/>
                <a:gd name="T29" fmla="*/ 3 h 56"/>
                <a:gd name="T30" fmla="*/ 39 w 51"/>
                <a:gd name="T31" fmla="*/ 3 h 56"/>
                <a:gd name="T32" fmla="*/ 41 w 51"/>
                <a:gd name="T33" fmla="*/ 9 h 56"/>
                <a:gd name="T34" fmla="*/ 42 w 51"/>
                <a:gd name="T35" fmla="*/ 42 h 56"/>
                <a:gd name="T36" fmla="*/ 41 w 51"/>
                <a:gd name="T37" fmla="*/ 42 h 56"/>
                <a:gd name="T38" fmla="*/ 28 w 51"/>
                <a:gd name="T39" fmla="*/ 25 h 56"/>
                <a:gd name="T40" fmla="*/ 9 w 51"/>
                <a:gd name="T41" fmla="*/ 2 h 56"/>
                <a:gd name="T42" fmla="*/ 7 w 51"/>
                <a:gd name="T43" fmla="*/ 0 h 56"/>
                <a:gd name="T44" fmla="*/ 6 w 51"/>
                <a:gd name="T45" fmla="*/ 3 h 56"/>
                <a:gd name="T46" fmla="*/ 6 w 51"/>
                <a:gd name="T47" fmla="*/ 45 h 56"/>
                <a:gd name="T48" fmla="*/ 4 w 51"/>
                <a:gd name="T49" fmla="*/ 54 h 56"/>
                <a:gd name="T50" fmla="*/ 1 w 51"/>
                <a:gd name="T51" fmla="*/ 54 h 56"/>
                <a:gd name="T52" fmla="*/ 0 w 51"/>
                <a:gd name="T53" fmla="*/ 55 h 56"/>
                <a:gd name="T54" fmla="*/ 1 w 51"/>
                <a:gd name="T55" fmla="*/ 55 h 56"/>
                <a:gd name="T56" fmla="*/ 8 w 51"/>
                <a:gd name="T57" fmla="*/ 55 h 56"/>
                <a:gd name="T58" fmla="*/ 15 w 51"/>
                <a:gd name="T59" fmla="*/ 55 h 56"/>
                <a:gd name="T60" fmla="*/ 17 w 51"/>
                <a:gd name="T61" fmla="*/ 55 h 56"/>
                <a:gd name="T62" fmla="*/ 16 w 51"/>
                <a:gd name="T63" fmla="*/ 54 h 56"/>
                <a:gd name="T64" fmla="*/ 13 w 51"/>
                <a:gd name="T65" fmla="*/ 54 h 56"/>
                <a:gd name="T66" fmla="*/ 10 w 51"/>
                <a:gd name="T67" fmla="*/ 46 h 56"/>
                <a:gd name="T68" fmla="*/ 10 w 51"/>
                <a:gd name="T69" fmla="*/ 1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" h="56">
                  <a:moveTo>
                    <a:pt x="10" y="16"/>
                  </a:moveTo>
                  <a:cubicBezTo>
                    <a:pt x="10" y="16"/>
                    <a:pt x="10" y="16"/>
                    <a:pt x="10" y="16"/>
                  </a:cubicBezTo>
                  <a:cubicBezTo>
                    <a:pt x="11" y="17"/>
                    <a:pt x="18" y="26"/>
                    <a:pt x="24" y="34"/>
                  </a:cubicBezTo>
                  <a:cubicBezTo>
                    <a:pt x="31" y="41"/>
                    <a:pt x="38" y="50"/>
                    <a:pt x="42" y="55"/>
                  </a:cubicBezTo>
                  <a:cubicBezTo>
                    <a:pt x="43" y="55"/>
                    <a:pt x="44" y="56"/>
                    <a:pt x="44" y="56"/>
                  </a:cubicBezTo>
                  <a:cubicBezTo>
                    <a:pt x="45" y="56"/>
                    <a:pt x="45" y="56"/>
                    <a:pt x="45" y="54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46" y="5"/>
                    <a:pt x="46" y="3"/>
                    <a:pt x="48" y="3"/>
                  </a:cubicBezTo>
                  <a:cubicBezTo>
                    <a:pt x="49" y="3"/>
                    <a:pt x="49" y="3"/>
                    <a:pt x="50" y="3"/>
                  </a:cubicBezTo>
                  <a:cubicBezTo>
                    <a:pt x="51" y="3"/>
                    <a:pt x="51" y="2"/>
                    <a:pt x="51" y="2"/>
                  </a:cubicBezTo>
                  <a:cubicBezTo>
                    <a:pt x="51" y="1"/>
                    <a:pt x="50" y="1"/>
                    <a:pt x="50" y="1"/>
                  </a:cubicBezTo>
                  <a:cubicBezTo>
                    <a:pt x="47" y="1"/>
                    <a:pt x="44" y="2"/>
                    <a:pt x="44" y="2"/>
                  </a:cubicBezTo>
                  <a:cubicBezTo>
                    <a:pt x="42" y="2"/>
                    <a:pt x="39" y="1"/>
                    <a:pt x="36" y="1"/>
                  </a:cubicBezTo>
                  <a:cubicBezTo>
                    <a:pt x="35" y="1"/>
                    <a:pt x="35" y="1"/>
                    <a:pt x="35" y="2"/>
                  </a:cubicBezTo>
                  <a:cubicBezTo>
                    <a:pt x="35" y="2"/>
                    <a:pt x="35" y="3"/>
                    <a:pt x="36" y="3"/>
                  </a:cubicBezTo>
                  <a:cubicBezTo>
                    <a:pt x="37" y="3"/>
                    <a:pt x="38" y="3"/>
                    <a:pt x="39" y="3"/>
                  </a:cubicBezTo>
                  <a:cubicBezTo>
                    <a:pt x="40" y="4"/>
                    <a:pt x="41" y="5"/>
                    <a:pt x="41" y="9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0" y="40"/>
                    <a:pt x="32" y="30"/>
                    <a:pt x="28" y="25"/>
                  </a:cubicBezTo>
                  <a:cubicBezTo>
                    <a:pt x="19" y="15"/>
                    <a:pt x="10" y="3"/>
                    <a:pt x="9" y="2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6" y="0"/>
                    <a:pt x="6" y="1"/>
                    <a:pt x="6" y="3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5" y="51"/>
                    <a:pt x="5" y="53"/>
                    <a:pt x="4" y="54"/>
                  </a:cubicBezTo>
                  <a:cubicBezTo>
                    <a:pt x="3" y="54"/>
                    <a:pt x="2" y="54"/>
                    <a:pt x="1" y="54"/>
                  </a:cubicBezTo>
                  <a:cubicBezTo>
                    <a:pt x="0" y="54"/>
                    <a:pt x="0" y="54"/>
                    <a:pt x="0" y="55"/>
                  </a:cubicBezTo>
                  <a:cubicBezTo>
                    <a:pt x="0" y="55"/>
                    <a:pt x="1" y="55"/>
                    <a:pt x="1" y="55"/>
                  </a:cubicBezTo>
                  <a:cubicBezTo>
                    <a:pt x="4" y="55"/>
                    <a:pt x="7" y="55"/>
                    <a:pt x="8" y="55"/>
                  </a:cubicBezTo>
                  <a:cubicBezTo>
                    <a:pt x="9" y="55"/>
                    <a:pt x="11" y="55"/>
                    <a:pt x="15" y="55"/>
                  </a:cubicBezTo>
                  <a:cubicBezTo>
                    <a:pt x="16" y="55"/>
                    <a:pt x="17" y="55"/>
                    <a:pt x="17" y="55"/>
                  </a:cubicBezTo>
                  <a:cubicBezTo>
                    <a:pt x="17" y="54"/>
                    <a:pt x="16" y="54"/>
                    <a:pt x="16" y="54"/>
                  </a:cubicBezTo>
                  <a:cubicBezTo>
                    <a:pt x="15" y="54"/>
                    <a:pt x="14" y="54"/>
                    <a:pt x="13" y="54"/>
                  </a:cubicBezTo>
                  <a:cubicBezTo>
                    <a:pt x="11" y="53"/>
                    <a:pt x="11" y="51"/>
                    <a:pt x="10" y="46"/>
                  </a:cubicBezTo>
                  <a:lnTo>
                    <a:pt x="10" y="16"/>
                  </a:lnTo>
                  <a:close/>
                </a:path>
              </a:pathLst>
            </a:custGeom>
            <a:solidFill>
              <a:srgbClr val="9B9C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72" name="Freeform 322"/>
            <p:cNvSpPr>
              <a:spLocks/>
            </p:cNvSpPr>
            <p:nvPr/>
          </p:nvSpPr>
          <p:spPr bwMode="gray">
            <a:xfrm>
              <a:off x="1651000" y="-811213"/>
              <a:ext cx="190500" cy="201612"/>
            </a:xfrm>
            <a:custGeom>
              <a:avLst/>
              <a:gdLst>
                <a:gd name="T0" fmla="*/ 14 w 51"/>
                <a:gd name="T1" fmla="*/ 23 h 54"/>
                <a:gd name="T2" fmla="*/ 13 w 51"/>
                <a:gd name="T3" fmla="*/ 23 h 54"/>
                <a:gd name="T4" fmla="*/ 13 w 51"/>
                <a:gd name="T5" fmla="*/ 21 h 54"/>
                <a:gd name="T6" fmla="*/ 13 w 51"/>
                <a:gd name="T7" fmla="*/ 6 h 54"/>
                <a:gd name="T8" fmla="*/ 16 w 51"/>
                <a:gd name="T9" fmla="*/ 2 h 54"/>
                <a:gd name="T10" fmla="*/ 17 w 51"/>
                <a:gd name="T11" fmla="*/ 2 h 54"/>
                <a:gd name="T12" fmla="*/ 18 w 51"/>
                <a:gd name="T13" fmla="*/ 1 h 54"/>
                <a:gd name="T14" fmla="*/ 17 w 51"/>
                <a:gd name="T15" fmla="*/ 0 h 54"/>
                <a:gd name="T16" fmla="*/ 10 w 51"/>
                <a:gd name="T17" fmla="*/ 1 h 54"/>
                <a:gd name="T18" fmla="*/ 1 w 51"/>
                <a:gd name="T19" fmla="*/ 0 h 54"/>
                <a:gd name="T20" fmla="*/ 0 w 51"/>
                <a:gd name="T21" fmla="*/ 1 h 54"/>
                <a:gd name="T22" fmla="*/ 1 w 51"/>
                <a:gd name="T23" fmla="*/ 2 h 54"/>
                <a:gd name="T24" fmla="*/ 3 w 51"/>
                <a:gd name="T25" fmla="*/ 2 h 54"/>
                <a:gd name="T26" fmla="*/ 6 w 51"/>
                <a:gd name="T27" fmla="*/ 6 h 54"/>
                <a:gd name="T28" fmla="*/ 6 w 51"/>
                <a:gd name="T29" fmla="*/ 21 h 54"/>
                <a:gd name="T30" fmla="*/ 6 w 51"/>
                <a:gd name="T31" fmla="*/ 34 h 54"/>
                <a:gd name="T32" fmla="*/ 5 w 51"/>
                <a:gd name="T33" fmla="*/ 49 h 54"/>
                <a:gd name="T34" fmla="*/ 4 w 51"/>
                <a:gd name="T35" fmla="*/ 53 h 54"/>
                <a:gd name="T36" fmla="*/ 1 w 51"/>
                <a:gd name="T37" fmla="*/ 53 h 54"/>
                <a:gd name="T38" fmla="*/ 0 w 51"/>
                <a:gd name="T39" fmla="*/ 54 h 54"/>
                <a:gd name="T40" fmla="*/ 2 w 51"/>
                <a:gd name="T41" fmla="*/ 54 h 54"/>
                <a:gd name="T42" fmla="*/ 9 w 51"/>
                <a:gd name="T43" fmla="*/ 54 h 54"/>
                <a:gd name="T44" fmla="*/ 19 w 51"/>
                <a:gd name="T45" fmla="*/ 54 h 54"/>
                <a:gd name="T46" fmla="*/ 20 w 51"/>
                <a:gd name="T47" fmla="*/ 54 h 54"/>
                <a:gd name="T48" fmla="*/ 19 w 51"/>
                <a:gd name="T49" fmla="*/ 53 h 54"/>
                <a:gd name="T50" fmla="*/ 16 w 51"/>
                <a:gd name="T51" fmla="*/ 53 h 54"/>
                <a:gd name="T52" fmla="*/ 14 w 51"/>
                <a:gd name="T53" fmla="*/ 49 h 54"/>
                <a:gd name="T54" fmla="*/ 13 w 51"/>
                <a:gd name="T55" fmla="*/ 34 h 54"/>
                <a:gd name="T56" fmla="*/ 13 w 51"/>
                <a:gd name="T57" fmla="*/ 27 h 54"/>
                <a:gd name="T58" fmla="*/ 14 w 51"/>
                <a:gd name="T59" fmla="*/ 27 h 54"/>
                <a:gd name="T60" fmla="*/ 37 w 51"/>
                <a:gd name="T61" fmla="*/ 27 h 54"/>
                <a:gd name="T62" fmla="*/ 37 w 51"/>
                <a:gd name="T63" fmla="*/ 27 h 54"/>
                <a:gd name="T64" fmla="*/ 37 w 51"/>
                <a:gd name="T65" fmla="*/ 34 h 54"/>
                <a:gd name="T66" fmla="*/ 37 w 51"/>
                <a:gd name="T67" fmla="*/ 49 h 54"/>
                <a:gd name="T68" fmla="*/ 35 w 51"/>
                <a:gd name="T69" fmla="*/ 53 h 54"/>
                <a:gd name="T70" fmla="*/ 33 w 51"/>
                <a:gd name="T71" fmla="*/ 53 h 54"/>
                <a:gd name="T72" fmla="*/ 32 w 51"/>
                <a:gd name="T73" fmla="*/ 54 h 54"/>
                <a:gd name="T74" fmla="*/ 33 w 51"/>
                <a:gd name="T75" fmla="*/ 54 h 54"/>
                <a:gd name="T76" fmla="*/ 41 w 51"/>
                <a:gd name="T77" fmla="*/ 54 h 54"/>
                <a:gd name="T78" fmla="*/ 50 w 51"/>
                <a:gd name="T79" fmla="*/ 54 h 54"/>
                <a:gd name="T80" fmla="*/ 51 w 51"/>
                <a:gd name="T81" fmla="*/ 54 h 54"/>
                <a:gd name="T82" fmla="*/ 50 w 51"/>
                <a:gd name="T83" fmla="*/ 53 h 54"/>
                <a:gd name="T84" fmla="*/ 47 w 51"/>
                <a:gd name="T85" fmla="*/ 53 h 54"/>
                <a:gd name="T86" fmla="*/ 45 w 51"/>
                <a:gd name="T87" fmla="*/ 49 h 54"/>
                <a:gd name="T88" fmla="*/ 45 w 51"/>
                <a:gd name="T89" fmla="*/ 34 h 54"/>
                <a:gd name="T90" fmla="*/ 45 w 51"/>
                <a:gd name="T91" fmla="*/ 21 h 54"/>
                <a:gd name="T92" fmla="*/ 45 w 51"/>
                <a:gd name="T93" fmla="*/ 6 h 54"/>
                <a:gd name="T94" fmla="*/ 47 w 51"/>
                <a:gd name="T95" fmla="*/ 2 h 54"/>
                <a:gd name="T96" fmla="*/ 49 w 51"/>
                <a:gd name="T97" fmla="*/ 2 h 54"/>
                <a:gd name="T98" fmla="*/ 50 w 51"/>
                <a:gd name="T99" fmla="*/ 1 h 54"/>
                <a:gd name="T100" fmla="*/ 49 w 51"/>
                <a:gd name="T101" fmla="*/ 0 h 54"/>
                <a:gd name="T102" fmla="*/ 41 w 51"/>
                <a:gd name="T103" fmla="*/ 1 h 54"/>
                <a:gd name="T104" fmla="*/ 32 w 51"/>
                <a:gd name="T105" fmla="*/ 0 h 54"/>
                <a:gd name="T106" fmla="*/ 31 w 51"/>
                <a:gd name="T107" fmla="*/ 1 h 54"/>
                <a:gd name="T108" fmla="*/ 32 w 51"/>
                <a:gd name="T109" fmla="*/ 2 h 54"/>
                <a:gd name="T110" fmla="*/ 34 w 51"/>
                <a:gd name="T111" fmla="*/ 2 h 54"/>
                <a:gd name="T112" fmla="*/ 37 w 51"/>
                <a:gd name="T113" fmla="*/ 6 h 54"/>
                <a:gd name="T114" fmla="*/ 37 w 51"/>
                <a:gd name="T115" fmla="*/ 21 h 54"/>
                <a:gd name="T116" fmla="*/ 37 w 51"/>
                <a:gd name="T117" fmla="*/ 23 h 54"/>
                <a:gd name="T118" fmla="*/ 37 w 51"/>
                <a:gd name="T119" fmla="*/ 23 h 54"/>
                <a:gd name="T120" fmla="*/ 14 w 51"/>
                <a:gd name="T121" fmla="*/ 23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" h="54">
                  <a:moveTo>
                    <a:pt x="14" y="23"/>
                  </a:moveTo>
                  <a:cubicBezTo>
                    <a:pt x="13" y="23"/>
                    <a:pt x="13" y="23"/>
                    <a:pt x="13" y="23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10"/>
                    <a:pt x="13" y="8"/>
                    <a:pt x="13" y="6"/>
                  </a:cubicBezTo>
                  <a:cubicBezTo>
                    <a:pt x="13" y="3"/>
                    <a:pt x="14" y="2"/>
                    <a:pt x="16" y="2"/>
                  </a:cubicBezTo>
                  <a:cubicBezTo>
                    <a:pt x="16" y="2"/>
                    <a:pt x="17" y="2"/>
                    <a:pt x="17" y="2"/>
                  </a:cubicBezTo>
                  <a:cubicBezTo>
                    <a:pt x="18" y="2"/>
                    <a:pt x="18" y="1"/>
                    <a:pt x="18" y="1"/>
                  </a:cubicBezTo>
                  <a:cubicBezTo>
                    <a:pt x="18" y="0"/>
                    <a:pt x="18" y="0"/>
                    <a:pt x="17" y="0"/>
                  </a:cubicBezTo>
                  <a:cubicBezTo>
                    <a:pt x="15" y="0"/>
                    <a:pt x="11" y="1"/>
                    <a:pt x="10" y="1"/>
                  </a:cubicBezTo>
                  <a:cubicBezTo>
                    <a:pt x="8" y="1"/>
                    <a:pt x="4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1" y="2"/>
                    <a:pt x="2" y="2"/>
                    <a:pt x="3" y="2"/>
                  </a:cubicBezTo>
                  <a:cubicBezTo>
                    <a:pt x="5" y="2"/>
                    <a:pt x="5" y="3"/>
                    <a:pt x="6" y="6"/>
                  </a:cubicBezTo>
                  <a:cubicBezTo>
                    <a:pt x="6" y="8"/>
                    <a:pt x="6" y="10"/>
                    <a:pt x="6" y="21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40"/>
                    <a:pt x="6" y="46"/>
                    <a:pt x="5" y="49"/>
                  </a:cubicBezTo>
                  <a:cubicBezTo>
                    <a:pt x="5" y="51"/>
                    <a:pt x="5" y="52"/>
                    <a:pt x="4" y="53"/>
                  </a:cubicBezTo>
                  <a:cubicBezTo>
                    <a:pt x="3" y="53"/>
                    <a:pt x="2" y="53"/>
                    <a:pt x="1" y="53"/>
                  </a:cubicBezTo>
                  <a:cubicBezTo>
                    <a:pt x="1" y="53"/>
                    <a:pt x="0" y="53"/>
                    <a:pt x="0" y="54"/>
                  </a:cubicBezTo>
                  <a:cubicBezTo>
                    <a:pt x="0" y="54"/>
                    <a:pt x="1" y="54"/>
                    <a:pt x="2" y="54"/>
                  </a:cubicBezTo>
                  <a:cubicBezTo>
                    <a:pt x="4" y="54"/>
                    <a:pt x="8" y="54"/>
                    <a:pt x="9" y="54"/>
                  </a:cubicBezTo>
                  <a:cubicBezTo>
                    <a:pt x="11" y="54"/>
                    <a:pt x="15" y="54"/>
                    <a:pt x="19" y="54"/>
                  </a:cubicBezTo>
                  <a:cubicBezTo>
                    <a:pt x="19" y="54"/>
                    <a:pt x="20" y="54"/>
                    <a:pt x="20" y="54"/>
                  </a:cubicBezTo>
                  <a:cubicBezTo>
                    <a:pt x="20" y="53"/>
                    <a:pt x="20" y="53"/>
                    <a:pt x="19" y="53"/>
                  </a:cubicBezTo>
                  <a:cubicBezTo>
                    <a:pt x="18" y="53"/>
                    <a:pt x="17" y="53"/>
                    <a:pt x="16" y="53"/>
                  </a:cubicBezTo>
                  <a:cubicBezTo>
                    <a:pt x="14" y="52"/>
                    <a:pt x="14" y="51"/>
                    <a:pt x="14" y="49"/>
                  </a:cubicBezTo>
                  <a:cubicBezTo>
                    <a:pt x="13" y="46"/>
                    <a:pt x="13" y="40"/>
                    <a:pt x="13" y="34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3" y="27"/>
                    <a:pt x="14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7" y="34"/>
                    <a:pt x="37" y="34"/>
                    <a:pt x="37" y="34"/>
                  </a:cubicBezTo>
                  <a:cubicBezTo>
                    <a:pt x="37" y="40"/>
                    <a:pt x="37" y="46"/>
                    <a:pt x="37" y="49"/>
                  </a:cubicBezTo>
                  <a:cubicBezTo>
                    <a:pt x="37" y="51"/>
                    <a:pt x="36" y="52"/>
                    <a:pt x="35" y="53"/>
                  </a:cubicBezTo>
                  <a:cubicBezTo>
                    <a:pt x="34" y="53"/>
                    <a:pt x="34" y="53"/>
                    <a:pt x="33" y="53"/>
                  </a:cubicBezTo>
                  <a:cubicBezTo>
                    <a:pt x="32" y="53"/>
                    <a:pt x="32" y="53"/>
                    <a:pt x="32" y="54"/>
                  </a:cubicBezTo>
                  <a:cubicBezTo>
                    <a:pt x="32" y="54"/>
                    <a:pt x="32" y="54"/>
                    <a:pt x="33" y="54"/>
                  </a:cubicBezTo>
                  <a:cubicBezTo>
                    <a:pt x="36" y="54"/>
                    <a:pt x="39" y="54"/>
                    <a:pt x="41" y="54"/>
                  </a:cubicBezTo>
                  <a:cubicBezTo>
                    <a:pt x="42" y="54"/>
                    <a:pt x="46" y="54"/>
                    <a:pt x="50" y="54"/>
                  </a:cubicBezTo>
                  <a:cubicBezTo>
                    <a:pt x="51" y="54"/>
                    <a:pt x="51" y="54"/>
                    <a:pt x="51" y="54"/>
                  </a:cubicBezTo>
                  <a:cubicBezTo>
                    <a:pt x="51" y="53"/>
                    <a:pt x="51" y="53"/>
                    <a:pt x="50" y="53"/>
                  </a:cubicBezTo>
                  <a:cubicBezTo>
                    <a:pt x="50" y="53"/>
                    <a:pt x="48" y="53"/>
                    <a:pt x="47" y="53"/>
                  </a:cubicBezTo>
                  <a:cubicBezTo>
                    <a:pt x="46" y="52"/>
                    <a:pt x="45" y="51"/>
                    <a:pt x="45" y="49"/>
                  </a:cubicBezTo>
                  <a:cubicBezTo>
                    <a:pt x="45" y="46"/>
                    <a:pt x="45" y="40"/>
                    <a:pt x="45" y="34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10"/>
                    <a:pt x="45" y="8"/>
                    <a:pt x="45" y="6"/>
                  </a:cubicBezTo>
                  <a:cubicBezTo>
                    <a:pt x="45" y="3"/>
                    <a:pt x="45" y="2"/>
                    <a:pt x="47" y="2"/>
                  </a:cubicBezTo>
                  <a:cubicBezTo>
                    <a:pt x="48" y="2"/>
                    <a:pt x="48" y="2"/>
                    <a:pt x="49" y="2"/>
                  </a:cubicBezTo>
                  <a:cubicBezTo>
                    <a:pt x="50" y="2"/>
                    <a:pt x="50" y="1"/>
                    <a:pt x="50" y="1"/>
                  </a:cubicBezTo>
                  <a:cubicBezTo>
                    <a:pt x="50" y="0"/>
                    <a:pt x="49" y="0"/>
                    <a:pt x="49" y="0"/>
                  </a:cubicBezTo>
                  <a:cubicBezTo>
                    <a:pt x="46" y="0"/>
                    <a:pt x="42" y="1"/>
                    <a:pt x="41" y="1"/>
                  </a:cubicBezTo>
                  <a:cubicBezTo>
                    <a:pt x="39" y="1"/>
                    <a:pt x="36" y="0"/>
                    <a:pt x="32" y="0"/>
                  </a:cubicBezTo>
                  <a:cubicBezTo>
                    <a:pt x="31" y="0"/>
                    <a:pt x="31" y="0"/>
                    <a:pt x="31" y="1"/>
                  </a:cubicBezTo>
                  <a:cubicBezTo>
                    <a:pt x="31" y="1"/>
                    <a:pt x="31" y="2"/>
                    <a:pt x="32" y="2"/>
                  </a:cubicBezTo>
                  <a:cubicBezTo>
                    <a:pt x="33" y="2"/>
                    <a:pt x="34" y="2"/>
                    <a:pt x="34" y="2"/>
                  </a:cubicBezTo>
                  <a:cubicBezTo>
                    <a:pt x="36" y="2"/>
                    <a:pt x="37" y="3"/>
                    <a:pt x="37" y="6"/>
                  </a:cubicBezTo>
                  <a:cubicBezTo>
                    <a:pt x="37" y="8"/>
                    <a:pt x="37" y="10"/>
                    <a:pt x="37" y="21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lnTo>
                    <a:pt x="14" y="23"/>
                  </a:lnTo>
                  <a:close/>
                </a:path>
              </a:pathLst>
            </a:custGeom>
            <a:solidFill>
              <a:srgbClr val="9B9C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73" name="Freeform 323"/>
            <p:cNvSpPr>
              <a:spLocks/>
            </p:cNvSpPr>
            <p:nvPr/>
          </p:nvSpPr>
          <p:spPr bwMode="gray">
            <a:xfrm>
              <a:off x="1882775" y="-811213"/>
              <a:ext cx="112713" cy="204787"/>
            </a:xfrm>
            <a:custGeom>
              <a:avLst/>
              <a:gdLst>
                <a:gd name="T0" fmla="*/ 6 w 30"/>
                <a:gd name="T1" fmla="*/ 34 h 55"/>
                <a:gd name="T2" fmla="*/ 5 w 30"/>
                <a:gd name="T3" fmla="*/ 49 h 55"/>
                <a:gd name="T4" fmla="*/ 4 w 30"/>
                <a:gd name="T5" fmla="*/ 53 h 55"/>
                <a:gd name="T6" fmla="*/ 2 w 30"/>
                <a:gd name="T7" fmla="*/ 53 h 55"/>
                <a:gd name="T8" fmla="*/ 1 w 30"/>
                <a:gd name="T9" fmla="*/ 54 h 55"/>
                <a:gd name="T10" fmla="*/ 2 w 30"/>
                <a:gd name="T11" fmla="*/ 54 h 55"/>
                <a:gd name="T12" fmla="*/ 9 w 30"/>
                <a:gd name="T13" fmla="*/ 54 h 55"/>
                <a:gd name="T14" fmla="*/ 26 w 30"/>
                <a:gd name="T15" fmla="*/ 55 h 55"/>
                <a:gd name="T16" fmla="*/ 29 w 30"/>
                <a:gd name="T17" fmla="*/ 53 h 55"/>
                <a:gd name="T18" fmla="*/ 30 w 30"/>
                <a:gd name="T19" fmla="*/ 45 h 55"/>
                <a:gd name="T20" fmla="*/ 30 w 30"/>
                <a:gd name="T21" fmla="*/ 43 h 55"/>
                <a:gd name="T22" fmla="*/ 29 w 30"/>
                <a:gd name="T23" fmla="*/ 45 h 55"/>
                <a:gd name="T24" fmla="*/ 26 w 30"/>
                <a:gd name="T25" fmla="*/ 50 h 55"/>
                <a:gd name="T26" fmla="*/ 21 w 30"/>
                <a:gd name="T27" fmla="*/ 51 h 55"/>
                <a:gd name="T28" fmla="*/ 13 w 30"/>
                <a:gd name="T29" fmla="*/ 45 h 55"/>
                <a:gd name="T30" fmla="*/ 13 w 30"/>
                <a:gd name="T31" fmla="*/ 34 h 55"/>
                <a:gd name="T32" fmla="*/ 13 w 30"/>
                <a:gd name="T33" fmla="*/ 28 h 55"/>
                <a:gd name="T34" fmla="*/ 14 w 30"/>
                <a:gd name="T35" fmla="*/ 27 h 55"/>
                <a:gd name="T36" fmla="*/ 22 w 30"/>
                <a:gd name="T37" fmla="*/ 27 h 55"/>
                <a:gd name="T38" fmla="*/ 26 w 30"/>
                <a:gd name="T39" fmla="*/ 30 h 55"/>
                <a:gd name="T40" fmla="*/ 26 w 30"/>
                <a:gd name="T41" fmla="*/ 33 h 55"/>
                <a:gd name="T42" fmla="*/ 27 w 30"/>
                <a:gd name="T43" fmla="*/ 33 h 55"/>
                <a:gd name="T44" fmla="*/ 27 w 30"/>
                <a:gd name="T45" fmla="*/ 32 h 55"/>
                <a:gd name="T46" fmla="*/ 27 w 30"/>
                <a:gd name="T47" fmla="*/ 27 h 55"/>
                <a:gd name="T48" fmla="*/ 28 w 30"/>
                <a:gd name="T49" fmla="*/ 22 h 55"/>
                <a:gd name="T50" fmla="*/ 27 w 30"/>
                <a:gd name="T51" fmla="*/ 22 h 55"/>
                <a:gd name="T52" fmla="*/ 26 w 30"/>
                <a:gd name="T53" fmla="*/ 22 h 55"/>
                <a:gd name="T54" fmla="*/ 24 w 30"/>
                <a:gd name="T55" fmla="*/ 24 h 55"/>
                <a:gd name="T56" fmla="*/ 14 w 30"/>
                <a:gd name="T57" fmla="*/ 24 h 55"/>
                <a:gd name="T58" fmla="*/ 13 w 30"/>
                <a:gd name="T59" fmla="*/ 23 h 55"/>
                <a:gd name="T60" fmla="*/ 13 w 30"/>
                <a:gd name="T61" fmla="*/ 5 h 55"/>
                <a:gd name="T62" fmla="*/ 14 w 30"/>
                <a:gd name="T63" fmla="*/ 4 h 55"/>
                <a:gd name="T64" fmla="*/ 22 w 30"/>
                <a:gd name="T65" fmla="*/ 4 h 55"/>
                <a:gd name="T66" fmla="*/ 26 w 30"/>
                <a:gd name="T67" fmla="*/ 7 h 55"/>
                <a:gd name="T68" fmla="*/ 27 w 30"/>
                <a:gd name="T69" fmla="*/ 10 h 55"/>
                <a:gd name="T70" fmla="*/ 27 w 30"/>
                <a:gd name="T71" fmla="*/ 11 h 55"/>
                <a:gd name="T72" fmla="*/ 28 w 30"/>
                <a:gd name="T73" fmla="*/ 10 h 55"/>
                <a:gd name="T74" fmla="*/ 28 w 30"/>
                <a:gd name="T75" fmla="*/ 5 h 55"/>
                <a:gd name="T76" fmla="*/ 29 w 30"/>
                <a:gd name="T77" fmla="*/ 0 h 55"/>
                <a:gd name="T78" fmla="*/ 28 w 30"/>
                <a:gd name="T79" fmla="*/ 0 h 55"/>
                <a:gd name="T80" fmla="*/ 27 w 30"/>
                <a:gd name="T81" fmla="*/ 0 h 55"/>
                <a:gd name="T82" fmla="*/ 25 w 30"/>
                <a:gd name="T83" fmla="*/ 0 h 55"/>
                <a:gd name="T84" fmla="*/ 10 w 30"/>
                <a:gd name="T85" fmla="*/ 1 h 55"/>
                <a:gd name="T86" fmla="*/ 1 w 30"/>
                <a:gd name="T87" fmla="*/ 0 h 55"/>
                <a:gd name="T88" fmla="*/ 0 w 30"/>
                <a:gd name="T89" fmla="*/ 1 h 55"/>
                <a:gd name="T90" fmla="*/ 1 w 30"/>
                <a:gd name="T91" fmla="*/ 2 h 55"/>
                <a:gd name="T92" fmla="*/ 3 w 30"/>
                <a:gd name="T93" fmla="*/ 2 h 55"/>
                <a:gd name="T94" fmla="*/ 6 w 30"/>
                <a:gd name="T95" fmla="*/ 6 h 55"/>
                <a:gd name="T96" fmla="*/ 6 w 30"/>
                <a:gd name="T97" fmla="*/ 21 h 55"/>
                <a:gd name="T98" fmla="*/ 6 w 30"/>
                <a:gd name="T99" fmla="*/ 3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" h="55">
                  <a:moveTo>
                    <a:pt x="6" y="34"/>
                  </a:moveTo>
                  <a:cubicBezTo>
                    <a:pt x="6" y="40"/>
                    <a:pt x="6" y="46"/>
                    <a:pt x="5" y="49"/>
                  </a:cubicBezTo>
                  <a:cubicBezTo>
                    <a:pt x="5" y="51"/>
                    <a:pt x="5" y="52"/>
                    <a:pt x="4" y="53"/>
                  </a:cubicBezTo>
                  <a:cubicBezTo>
                    <a:pt x="3" y="53"/>
                    <a:pt x="2" y="53"/>
                    <a:pt x="2" y="53"/>
                  </a:cubicBezTo>
                  <a:cubicBezTo>
                    <a:pt x="1" y="53"/>
                    <a:pt x="1" y="53"/>
                    <a:pt x="1" y="54"/>
                  </a:cubicBezTo>
                  <a:cubicBezTo>
                    <a:pt x="1" y="54"/>
                    <a:pt x="1" y="54"/>
                    <a:pt x="2" y="54"/>
                  </a:cubicBezTo>
                  <a:cubicBezTo>
                    <a:pt x="4" y="54"/>
                    <a:pt x="8" y="54"/>
                    <a:pt x="9" y="54"/>
                  </a:cubicBezTo>
                  <a:cubicBezTo>
                    <a:pt x="13" y="54"/>
                    <a:pt x="17" y="55"/>
                    <a:pt x="26" y="55"/>
                  </a:cubicBezTo>
                  <a:cubicBezTo>
                    <a:pt x="28" y="55"/>
                    <a:pt x="29" y="55"/>
                    <a:pt x="29" y="53"/>
                  </a:cubicBezTo>
                  <a:cubicBezTo>
                    <a:pt x="30" y="51"/>
                    <a:pt x="30" y="46"/>
                    <a:pt x="30" y="45"/>
                  </a:cubicBezTo>
                  <a:cubicBezTo>
                    <a:pt x="30" y="44"/>
                    <a:pt x="30" y="43"/>
                    <a:pt x="30" y="43"/>
                  </a:cubicBezTo>
                  <a:cubicBezTo>
                    <a:pt x="29" y="43"/>
                    <a:pt x="29" y="44"/>
                    <a:pt x="29" y="45"/>
                  </a:cubicBezTo>
                  <a:cubicBezTo>
                    <a:pt x="29" y="47"/>
                    <a:pt x="28" y="49"/>
                    <a:pt x="26" y="50"/>
                  </a:cubicBezTo>
                  <a:cubicBezTo>
                    <a:pt x="25" y="51"/>
                    <a:pt x="22" y="51"/>
                    <a:pt x="21" y="51"/>
                  </a:cubicBezTo>
                  <a:cubicBezTo>
                    <a:pt x="14" y="51"/>
                    <a:pt x="14" y="50"/>
                    <a:pt x="13" y="45"/>
                  </a:cubicBezTo>
                  <a:cubicBezTo>
                    <a:pt x="13" y="43"/>
                    <a:pt x="13" y="36"/>
                    <a:pt x="13" y="34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3" y="28"/>
                    <a:pt x="13" y="27"/>
                    <a:pt x="14" y="27"/>
                  </a:cubicBezTo>
                  <a:cubicBezTo>
                    <a:pt x="15" y="27"/>
                    <a:pt x="21" y="27"/>
                    <a:pt x="22" y="27"/>
                  </a:cubicBezTo>
                  <a:cubicBezTo>
                    <a:pt x="25" y="28"/>
                    <a:pt x="25" y="29"/>
                    <a:pt x="26" y="30"/>
                  </a:cubicBezTo>
                  <a:cubicBezTo>
                    <a:pt x="26" y="31"/>
                    <a:pt x="26" y="32"/>
                    <a:pt x="26" y="33"/>
                  </a:cubicBezTo>
                  <a:cubicBezTo>
                    <a:pt x="26" y="33"/>
                    <a:pt x="26" y="33"/>
                    <a:pt x="27" y="33"/>
                  </a:cubicBezTo>
                  <a:cubicBezTo>
                    <a:pt x="27" y="33"/>
                    <a:pt x="27" y="33"/>
                    <a:pt x="27" y="32"/>
                  </a:cubicBezTo>
                  <a:cubicBezTo>
                    <a:pt x="27" y="32"/>
                    <a:pt x="27" y="29"/>
                    <a:pt x="27" y="27"/>
                  </a:cubicBezTo>
                  <a:cubicBezTo>
                    <a:pt x="28" y="24"/>
                    <a:pt x="28" y="23"/>
                    <a:pt x="28" y="22"/>
                  </a:cubicBezTo>
                  <a:cubicBezTo>
                    <a:pt x="28" y="22"/>
                    <a:pt x="28" y="22"/>
                    <a:pt x="27" y="22"/>
                  </a:cubicBezTo>
                  <a:cubicBezTo>
                    <a:pt x="27" y="22"/>
                    <a:pt x="27" y="22"/>
                    <a:pt x="26" y="22"/>
                  </a:cubicBezTo>
                  <a:cubicBezTo>
                    <a:pt x="26" y="23"/>
                    <a:pt x="25" y="23"/>
                    <a:pt x="24" y="24"/>
                  </a:cubicBezTo>
                  <a:cubicBezTo>
                    <a:pt x="22" y="24"/>
                    <a:pt x="15" y="24"/>
                    <a:pt x="14" y="24"/>
                  </a:cubicBezTo>
                  <a:cubicBezTo>
                    <a:pt x="13" y="24"/>
                    <a:pt x="13" y="23"/>
                    <a:pt x="13" y="23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4" y="4"/>
                    <a:pt x="14" y="4"/>
                  </a:cubicBezTo>
                  <a:cubicBezTo>
                    <a:pt x="15" y="4"/>
                    <a:pt x="21" y="4"/>
                    <a:pt x="22" y="4"/>
                  </a:cubicBezTo>
                  <a:cubicBezTo>
                    <a:pt x="25" y="5"/>
                    <a:pt x="26" y="6"/>
                    <a:pt x="26" y="7"/>
                  </a:cubicBezTo>
                  <a:cubicBezTo>
                    <a:pt x="27" y="8"/>
                    <a:pt x="27" y="9"/>
                    <a:pt x="27" y="10"/>
                  </a:cubicBezTo>
                  <a:cubicBezTo>
                    <a:pt x="27" y="10"/>
                    <a:pt x="27" y="11"/>
                    <a:pt x="27" y="11"/>
                  </a:cubicBezTo>
                  <a:cubicBezTo>
                    <a:pt x="28" y="11"/>
                    <a:pt x="28" y="10"/>
                    <a:pt x="28" y="10"/>
                  </a:cubicBezTo>
                  <a:cubicBezTo>
                    <a:pt x="28" y="9"/>
                    <a:pt x="28" y="6"/>
                    <a:pt x="28" y="5"/>
                  </a:cubicBezTo>
                  <a:cubicBezTo>
                    <a:pt x="28" y="2"/>
                    <a:pt x="29" y="1"/>
                    <a:pt x="29" y="0"/>
                  </a:cubicBezTo>
                  <a:cubicBezTo>
                    <a:pt x="29" y="0"/>
                    <a:pt x="29" y="0"/>
                    <a:pt x="28" y="0"/>
                  </a:cubicBezTo>
                  <a:cubicBezTo>
                    <a:pt x="28" y="0"/>
                    <a:pt x="28" y="0"/>
                    <a:pt x="27" y="0"/>
                  </a:cubicBezTo>
                  <a:cubicBezTo>
                    <a:pt x="27" y="0"/>
                    <a:pt x="26" y="0"/>
                    <a:pt x="25" y="0"/>
                  </a:cubicBezTo>
                  <a:cubicBezTo>
                    <a:pt x="24" y="1"/>
                    <a:pt x="12" y="1"/>
                    <a:pt x="10" y="1"/>
                  </a:cubicBezTo>
                  <a:cubicBezTo>
                    <a:pt x="8" y="1"/>
                    <a:pt x="4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5" y="2"/>
                    <a:pt x="6" y="3"/>
                    <a:pt x="6" y="6"/>
                  </a:cubicBezTo>
                  <a:cubicBezTo>
                    <a:pt x="6" y="8"/>
                    <a:pt x="6" y="10"/>
                    <a:pt x="6" y="21"/>
                  </a:cubicBezTo>
                  <a:lnTo>
                    <a:pt x="6" y="34"/>
                  </a:lnTo>
                  <a:close/>
                </a:path>
              </a:pathLst>
            </a:custGeom>
            <a:solidFill>
              <a:srgbClr val="9B9C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74" name="Freeform 324"/>
            <p:cNvSpPr>
              <a:spLocks/>
            </p:cNvSpPr>
            <p:nvPr/>
          </p:nvSpPr>
          <p:spPr bwMode="gray">
            <a:xfrm>
              <a:off x="2039938" y="-811213"/>
              <a:ext cx="71438" cy="201612"/>
            </a:xfrm>
            <a:custGeom>
              <a:avLst/>
              <a:gdLst>
                <a:gd name="T0" fmla="*/ 5 w 19"/>
                <a:gd name="T1" fmla="*/ 34 h 54"/>
                <a:gd name="T2" fmla="*/ 5 w 19"/>
                <a:gd name="T3" fmla="*/ 49 h 54"/>
                <a:gd name="T4" fmla="*/ 3 w 19"/>
                <a:gd name="T5" fmla="*/ 53 h 54"/>
                <a:gd name="T6" fmla="*/ 1 w 19"/>
                <a:gd name="T7" fmla="*/ 53 h 54"/>
                <a:gd name="T8" fmla="*/ 0 w 19"/>
                <a:gd name="T9" fmla="*/ 54 h 54"/>
                <a:gd name="T10" fmla="*/ 1 w 19"/>
                <a:gd name="T11" fmla="*/ 54 h 54"/>
                <a:gd name="T12" fmla="*/ 9 w 19"/>
                <a:gd name="T13" fmla="*/ 54 h 54"/>
                <a:gd name="T14" fmla="*/ 18 w 19"/>
                <a:gd name="T15" fmla="*/ 54 h 54"/>
                <a:gd name="T16" fmla="*/ 19 w 19"/>
                <a:gd name="T17" fmla="*/ 54 h 54"/>
                <a:gd name="T18" fmla="*/ 19 w 19"/>
                <a:gd name="T19" fmla="*/ 53 h 54"/>
                <a:gd name="T20" fmla="*/ 15 w 19"/>
                <a:gd name="T21" fmla="*/ 53 h 54"/>
                <a:gd name="T22" fmla="*/ 13 w 19"/>
                <a:gd name="T23" fmla="*/ 49 h 54"/>
                <a:gd name="T24" fmla="*/ 13 w 19"/>
                <a:gd name="T25" fmla="*/ 34 h 54"/>
                <a:gd name="T26" fmla="*/ 13 w 19"/>
                <a:gd name="T27" fmla="*/ 21 h 54"/>
                <a:gd name="T28" fmla="*/ 13 w 19"/>
                <a:gd name="T29" fmla="*/ 6 h 54"/>
                <a:gd name="T30" fmla="*/ 15 w 19"/>
                <a:gd name="T31" fmla="*/ 2 h 54"/>
                <a:gd name="T32" fmla="*/ 17 w 19"/>
                <a:gd name="T33" fmla="*/ 2 h 54"/>
                <a:gd name="T34" fmla="*/ 18 w 19"/>
                <a:gd name="T35" fmla="*/ 1 h 54"/>
                <a:gd name="T36" fmla="*/ 17 w 19"/>
                <a:gd name="T37" fmla="*/ 0 h 54"/>
                <a:gd name="T38" fmla="*/ 9 w 19"/>
                <a:gd name="T39" fmla="*/ 1 h 54"/>
                <a:gd name="T40" fmla="*/ 1 w 19"/>
                <a:gd name="T41" fmla="*/ 0 h 54"/>
                <a:gd name="T42" fmla="*/ 0 w 19"/>
                <a:gd name="T43" fmla="*/ 1 h 54"/>
                <a:gd name="T44" fmla="*/ 1 w 19"/>
                <a:gd name="T45" fmla="*/ 2 h 54"/>
                <a:gd name="T46" fmla="*/ 3 w 19"/>
                <a:gd name="T47" fmla="*/ 2 h 54"/>
                <a:gd name="T48" fmla="*/ 5 w 19"/>
                <a:gd name="T49" fmla="*/ 6 h 54"/>
                <a:gd name="T50" fmla="*/ 5 w 19"/>
                <a:gd name="T51" fmla="*/ 21 h 54"/>
                <a:gd name="T52" fmla="*/ 5 w 19"/>
                <a:gd name="T53" fmla="*/ 3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" h="54">
                  <a:moveTo>
                    <a:pt x="5" y="34"/>
                  </a:moveTo>
                  <a:cubicBezTo>
                    <a:pt x="5" y="41"/>
                    <a:pt x="5" y="46"/>
                    <a:pt x="5" y="49"/>
                  </a:cubicBezTo>
                  <a:cubicBezTo>
                    <a:pt x="5" y="51"/>
                    <a:pt x="4" y="52"/>
                    <a:pt x="3" y="53"/>
                  </a:cubicBezTo>
                  <a:cubicBezTo>
                    <a:pt x="3" y="53"/>
                    <a:pt x="2" y="53"/>
                    <a:pt x="1" y="53"/>
                  </a:cubicBezTo>
                  <a:cubicBezTo>
                    <a:pt x="0" y="53"/>
                    <a:pt x="0" y="53"/>
                    <a:pt x="0" y="54"/>
                  </a:cubicBezTo>
                  <a:cubicBezTo>
                    <a:pt x="0" y="54"/>
                    <a:pt x="0" y="54"/>
                    <a:pt x="1" y="54"/>
                  </a:cubicBezTo>
                  <a:cubicBezTo>
                    <a:pt x="4" y="54"/>
                    <a:pt x="7" y="54"/>
                    <a:pt x="9" y="54"/>
                  </a:cubicBezTo>
                  <a:cubicBezTo>
                    <a:pt x="11" y="54"/>
                    <a:pt x="14" y="54"/>
                    <a:pt x="18" y="54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8" y="53"/>
                    <a:pt x="16" y="53"/>
                    <a:pt x="15" y="53"/>
                  </a:cubicBezTo>
                  <a:cubicBezTo>
                    <a:pt x="14" y="52"/>
                    <a:pt x="13" y="51"/>
                    <a:pt x="13" y="49"/>
                  </a:cubicBezTo>
                  <a:cubicBezTo>
                    <a:pt x="13" y="46"/>
                    <a:pt x="13" y="41"/>
                    <a:pt x="13" y="34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10"/>
                    <a:pt x="13" y="8"/>
                    <a:pt x="13" y="6"/>
                  </a:cubicBezTo>
                  <a:cubicBezTo>
                    <a:pt x="13" y="3"/>
                    <a:pt x="13" y="2"/>
                    <a:pt x="15" y="2"/>
                  </a:cubicBezTo>
                  <a:cubicBezTo>
                    <a:pt x="16" y="2"/>
                    <a:pt x="16" y="2"/>
                    <a:pt x="17" y="2"/>
                  </a:cubicBezTo>
                  <a:cubicBezTo>
                    <a:pt x="18" y="2"/>
                    <a:pt x="18" y="1"/>
                    <a:pt x="18" y="1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4" y="0"/>
                    <a:pt x="11" y="1"/>
                    <a:pt x="9" y="1"/>
                  </a:cubicBezTo>
                  <a:cubicBezTo>
                    <a:pt x="7" y="1"/>
                    <a:pt x="4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2" y="2"/>
                    <a:pt x="2" y="2"/>
                    <a:pt x="3" y="2"/>
                  </a:cubicBezTo>
                  <a:cubicBezTo>
                    <a:pt x="4" y="2"/>
                    <a:pt x="5" y="3"/>
                    <a:pt x="5" y="6"/>
                  </a:cubicBezTo>
                  <a:cubicBezTo>
                    <a:pt x="5" y="8"/>
                    <a:pt x="5" y="10"/>
                    <a:pt x="5" y="21"/>
                  </a:cubicBezTo>
                  <a:lnTo>
                    <a:pt x="5" y="34"/>
                  </a:lnTo>
                  <a:close/>
                </a:path>
              </a:pathLst>
            </a:custGeom>
            <a:solidFill>
              <a:srgbClr val="9B9C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75" name="Freeform 325"/>
            <p:cNvSpPr>
              <a:spLocks/>
            </p:cNvSpPr>
            <p:nvPr/>
          </p:nvSpPr>
          <p:spPr bwMode="gray">
            <a:xfrm>
              <a:off x="2141538" y="-815975"/>
              <a:ext cx="233363" cy="206375"/>
            </a:xfrm>
            <a:custGeom>
              <a:avLst/>
              <a:gdLst>
                <a:gd name="T0" fmla="*/ 5 w 62"/>
                <a:gd name="T1" fmla="*/ 48 h 55"/>
                <a:gd name="T2" fmla="*/ 3 w 62"/>
                <a:gd name="T3" fmla="*/ 54 h 55"/>
                <a:gd name="T4" fmla="*/ 1 w 62"/>
                <a:gd name="T5" fmla="*/ 54 h 55"/>
                <a:gd name="T6" fmla="*/ 0 w 62"/>
                <a:gd name="T7" fmla="*/ 55 h 55"/>
                <a:gd name="T8" fmla="*/ 1 w 62"/>
                <a:gd name="T9" fmla="*/ 55 h 55"/>
                <a:gd name="T10" fmla="*/ 7 w 62"/>
                <a:gd name="T11" fmla="*/ 55 h 55"/>
                <a:gd name="T12" fmla="*/ 13 w 62"/>
                <a:gd name="T13" fmla="*/ 55 h 55"/>
                <a:gd name="T14" fmla="*/ 15 w 62"/>
                <a:gd name="T15" fmla="*/ 55 h 55"/>
                <a:gd name="T16" fmla="*/ 14 w 62"/>
                <a:gd name="T17" fmla="*/ 54 h 55"/>
                <a:gd name="T18" fmla="*/ 11 w 62"/>
                <a:gd name="T19" fmla="*/ 54 h 55"/>
                <a:gd name="T20" fmla="*/ 9 w 62"/>
                <a:gd name="T21" fmla="*/ 51 h 55"/>
                <a:gd name="T22" fmla="*/ 10 w 62"/>
                <a:gd name="T23" fmla="*/ 48 h 55"/>
                <a:gd name="T24" fmla="*/ 13 w 62"/>
                <a:gd name="T25" fmla="*/ 20 h 55"/>
                <a:gd name="T26" fmla="*/ 13 w 62"/>
                <a:gd name="T27" fmla="*/ 20 h 55"/>
                <a:gd name="T28" fmla="*/ 19 w 62"/>
                <a:gd name="T29" fmla="*/ 35 h 55"/>
                <a:gd name="T30" fmla="*/ 26 w 62"/>
                <a:gd name="T31" fmla="*/ 52 h 55"/>
                <a:gd name="T32" fmla="*/ 28 w 62"/>
                <a:gd name="T33" fmla="*/ 55 h 55"/>
                <a:gd name="T34" fmla="*/ 31 w 62"/>
                <a:gd name="T35" fmla="*/ 51 h 55"/>
                <a:gd name="T36" fmla="*/ 44 w 62"/>
                <a:gd name="T37" fmla="*/ 19 h 55"/>
                <a:gd name="T38" fmla="*/ 44 w 62"/>
                <a:gd name="T39" fmla="*/ 19 h 55"/>
                <a:gd name="T40" fmla="*/ 48 w 62"/>
                <a:gd name="T41" fmla="*/ 50 h 55"/>
                <a:gd name="T42" fmla="*/ 47 w 62"/>
                <a:gd name="T43" fmla="*/ 53 h 55"/>
                <a:gd name="T44" fmla="*/ 47 w 62"/>
                <a:gd name="T45" fmla="*/ 54 h 55"/>
                <a:gd name="T46" fmla="*/ 49 w 62"/>
                <a:gd name="T47" fmla="*/ 55 h 55"/>
                <a:gd name="T48" fmla="*/ 61 w 62"/>
                <a:gd name="T49" fmla="*/ 55 h 55"/>
                <a:gd name="T50" fmla="*/ 62 w 62"/>
                <a:gd name="T51" fmla="*/ 55 h 55"/>
                <a:gd name="T52" fmla="*/ 61 w 62"/>
                <a:gd name="T53" fmla="*/ 54 h 55"/>
                <a:gd name="T54" fmla="*/ 58 w 62"/>
                <a:gd name="T55" fmla="*/ 53 h 55"/>
                <a:gd name="T56" fmla="*/ 55 w 62"/>
                <a:gd name="T57" fmla="*/ 46 h 55"/>
                <a:gd name="T58" fmla="*/ 49 w 62"/>
                <a:gd name="T59" fmla="*/ 2 h 55"/>
                <a:gd name="T60" fmla="*/ 48 w 62"/>
                <a:gd name="T61" fmla="*/ 0 h 55"/>
                <a:gd name="T62" fmla="*/ 47 w 62"/>
                <a:gd name="T63" fmla="*/ 1 h 55"/>
                <a:gd name="T64" fmla="*/ 30 w 62"/>
                <a:gd name="T65" fmla="*/ 42 h 55"/>
                <a:gd name="T66" fmla="*/ 14 w 62"/>
                <a:gd name="T67" fmla="*/ 2 h 55"/>
                <a:gd name="T68" fmla="*/ 12 w 62"/>
                <a:gd name="T69" fmla="*/ 0 h 55"/>
                <a:gd name="T70" fmla="*/ 11 w 62"/>
                <a:gd name="T71" fmla="*/ 2 h 55"/>
                <a:gd name="T72" fmla="*/ 5 w 62"/>
                <a:gd name="T73" fmla="*/ 4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2" h="55">
                  <a:moveTo>
                    <a:pt x="5" y="48"/>
                  </a:moveTo>
                  <a:cubicBezTo>
                    <a:pt x="5" y="51"/>
                    <a:pt x="4" y="53"/>
                    <a:pt x="3" y="54"/>
                  </a:cubicBezTo>
                  <a:cubicBezTo>
                    <a:pt x="2" y="54"/>
                    <a:pt x="1" y="54"/>
                    <a:pt x="1" y="54"/>
                  </a:cubicBezTo>
                  <a:cubicBezTo>
                    <a:pt x="0" y="54"/>
                    <a:pt x="0" y="54"/>
                    <a:pt x="0" y="55"/>
                  </a:cubicBezTo>
                  <a:cubicBezTo>
                    <a:pt x="0" y="55"/>
                    <a:pt x="0" y="55"/>
                    <a:pt x="1" y="55"/>
                  </a:cubicBezTo>
                  <a:cubicBezTo>
                    <a:pt x="3" y="55"/>
                    <a:pt x="6" y="55"/>
                    <a:pt x="7" y="55"/>
                  </a:cubicBezTo>
                  <a:cubicBezTo>
                    <a:pt x="8" y="55"/>
                    <a:pt x="11" y="55"/>
                    <a:pt x="13" y="55"/>
                  </a:cubicBezTo>
                  <a:cubicBezTo>
                    <a:pt x="14" y="55"/>
                    <a:pt x="15" y="55"/>
                    <a:pt x="15" y="55"/>
                  </a:cubicBezTo>
                  <a:cubicBezTo>
                    <a:pt x="15" y="54"/>
                    <a:pt x="14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9" y="51"/>
                  </a:cubicBezTo>
                  <a:cubicBezTo>
                    <a:pt x="9" y="50"/>
                    <a:pt x="9" y="49"/>
                    <a:pt x="10" y="48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5" y="25"/>
                    <a:pt x="19" y="34"/>
                    <a:pt x="19" y="35"/>
                  </a:cubicBezTo>
                  <a:cubicBezTo>
                    <a:pt x="20" y="37"/>
                    <a:pt x="25" y="48"/>
                    <a:pt x="26" y="52"/>
                  </a:cubicBezTo>
                  <a:cubicBezTo>
                    <a:pt x="27" y="54"/>
                    <a:pt x="28" y="55"/>
                    <a:pt x="28" y="55"/>
                  </a:cubicBezTo>
                  <a:cubicBezTo>
                    <a:pt x="29" y="55"/>
                    <a:pt x="29" y="55"/>
                    <a:pt x="31" y="51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48" y="52"/>
                    <a:pt x="48" y="53"/>
                    <a:pt x="47" y="53"/>
                  </a:cubicBezTo>
                  <a:cubicBezTo>
                    <a:pt x="47" y="54"/>
                    <a:pt x="47" y="54"/>
                    <a:pt x="47" y="54"/>
                  </a:cubicBezTo>
                  <a:cubicBezTo>
                    <a:pt x="47" y="55"/>
                    <a:pt x="47" y="55"/>
                    <a:pt x="49" y="55"/>
                  </a:cubicBezTo>
                  <a:cubicBezTo>
                    <a:pt x="51" y="55"/>
                    <a:pt x="59" y="55"/>
                    <a:pt x="61" y="55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62" y="54"/>
                    <a:pt x="62" y="54"/>
                    <a:pt x="61" y="54"/>
                  </a:cubicBezTo>
                  <a:cubicBezTo>
                    <a:pt x="61" y="54"/>
                    <a:pt x="59" y="54"/>
                    <a:pt x="58" y="53"/>
                  </a:cubicBezTo>
                  <a:cubicBezTo>
                    <a:pt x="56" y="53"/>
                    <a:pt x="55" y="51"/>
                    <a:pt x="55" y="46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9" y="0"/>
                    <a:pt x="49" y="0"/>
                    <a:pt x="48" y="0"/>
                  </a:cubicBezTo>
                  <a:cubicBezTo>
                    <a:pt x="48" y="0"/>
                    <a:pt x="47" y="0"/>
                    <a:pt x="47" y="1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3" y="0"/>
                    <a:pt x="13" y="0"/>
                    <a:pt x="12" y="0"/>
                  </a:cubicBezTo>
                  <a:cubicBezTo>
                    <a:pt x="12" y="0"/>
                    <a:pt x="11" y="0"/>
                    <a:pt x="11" y="2"/>
                  </a:cubicBezTo>
                  <a:lnTo>
                    <a:pt x="5" y="48"/>
                  </a:lnTo>
                  <a:close/>
                </a:path>
              </a:pathLst>
            </a:custGeom>
            <a:solidFill>
              <a:srgbClr val="9B9C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76" name="Freeform 326"/>
            <p:cNvSpPr>
              <a:spLocks noEditPoints="1"/>
            </p:cNvSpPr>
            <p:nvPr/>
          </p:nvSpPr>
          <p:spPr bwMode="gray">
            <a:xfrm>
              <a:off x="1549400" y="-565150"/>
              <a:ext cx="112713" cy="173037"/>
            </a:xfrm>
            <a:custGeom>
              <a:avLst/>
              <a:gdLst>
                <a:gd name="T0" fmla="*/ 5 w 30"/>
                <a:gd name="T1" fmla="*/ 28 h 46"/>
                <a:gd name="T2" fmla="*/ 5 w 30"/>
                <a:gd name="T3" fmla="*/ 41 h 46"/>
                <a:gd name="T4" fmla="*/ 3 w 30"/>
                <a:gd name="T5" fmla="*/ 45 h 46"/>
                <a:gd name="T6" fmla="*/ 1 w 30"/>
                <a:gd name="T7" fmla="*/ 45 h 46"/>
                <a:gd name="T8" fmla="*/ 0 w 30"/>
                <a:gd name="T9" fmla="*/ 46 h 46"/>
                <a:gd name="T10" fmla="*/ 1 w 30"/>
                <a:gd name="T11" fmla="*/ 46 h 46"/>
                <a:gd name="T12" fmla="*/ 8 w 30"/>
                <a:gd name="T13" fmla="*/ 46 h 46"/>
                <a:gd name="T14" fmla="*/ 16 w 30"/>
                <a:gd name="T15" fmla="*/ 46 h 46"/>
                <a:gd name="T16" fmla="*/ 30 w 30"/>
                <a:gd name="T17" fmla="*/ 33 h 46"/>
                <a:gd name="T18" fmla="*/ 20 w 30"/>
                <a:gd name="T19" fmla="*/ 20 h 46"/>
                <a:gd name="T20" fmla="*/ 25 w 30"/>
                <a:gd name="T21" fmla="*/ 9 h 46"/>
                <a:gd name="T22" fmla="*/ 14 w 30"/>
                <a:gd name="T23" fmla="*/ 0 h 46"/>
                <a:gd name="T24" fmla="*/ 8 w 30"/>
                <a:gd name="T25" fmla="*/ 0 h 46"/>
                <a:gd name="T26" fmla="*/ 1 w 30"/>
                <a:gd name="T27" fmla="*/ 0 h 46"/>
                <a:gd name="T28" fmla="*/ 0 w 30"/>
                <a:gd name="T29" fmla="*/ 0 h 46"/>
                <a:gd name="T30" fmla="*/ 1 w 30"/>
                <a:gd name="T31" fmla="*/ 1 h 46"/>
                <a:gd name="T32" fmla="*/ 3 w 30"/>
                <a:gd name="T33" fmla="*/ 1 h 46"/>
                <a:gd name="T34" fmla="*/ 5 w 30"/>
                <a:gd name="T35" fmla="*/ 4 h 46"/>
                <a:gd name="T36" fmla="*/ 5 w 30"/>
                <a:gd name="T37" fmla="*/ 17 h 46"/>
                <a:gd name="T38" fmla="*/ 5 w 30"/>
                <a:gd name="T39" fmla="*/ 28 h 46"/>
                <a:gd name="T40" fmla="*/ 11 w 30"/>
                <a:gd name="T41" fmla="*/ 3 h 46"/>
                <a:gd name="T42" fmla="*/ 12 w 30"/>
                <a:gd name="T43" fmla="*/ 2 h 46"/>
                <a:gd name="T44" fmla="*/ 13 w 30"/>
                <a:gd name="T45" fmla="*/ 2 h 46"/>
                <a:gd name="T46" fmla="*/ 20 w 30"/>
                <a:gd name="T47" fmla="*/ 12 h 46"/>
                <a:gd name="T48" fmla="*/ 18 w 30"/>
                <a:gd name="T49" fmla="*/ 18 h 46"/>
                <a:gd name="T50" fmla="*/ 14 w 30"/>
                <a:gd name="T51" fmla="*/ 19 h 46"/>
                <a:gd name="T52" fmla="*/ 12 w 30"/>
                <a:gd name="T53" fmla="*/ 19 h 46"/>
                <a:gd name="T54" fmla="*/ 11 w 30"/>
                <a:gd name="T55" fmla="*/ 19 h 46"/>
                <a:gd name="T56" fmla="*/ 11 w 30"/>
                <a:gd name="T57" fmla="*/ 3 h 46"/>
                <a:gd name="T58" fmla="*/ 23 w 30"/>
                <a:gd name="T59" fmla="*/ 36 h 46"/>
                <a:gd name="T60" fmla="*/ 17 w 30"/>
                <a:gd name="T61" fmla="*/ 44 h 46"/>
                <a:gd name="T62" fmla="*/ 13 w 30"/>
                <a:gd name="T63" fmla="*/ 43 h 46"/>
                <a:gd name="T64" fmla="*/ 11 w 30"/>
                <a:gd name="T65" fmla="*/ 37 h 46"/>
                <a:gd name="T66" fmla="*/ 11 w 30"/>
                <a:gd name="T67" fmla="*/ 22 h 46"/>
                <a:gd name="T68" fmla="*/ 12 w 30"/>
                <a:gd name="T69" fmla="*/ 22 h 46"/>
                <a:gd name="T70" fmla="*/ 14 w 30"/>
                <a:gd name="T71" fmla="*/ 22 h 46"/>
                <a:gd name="T72" fmla="*/ 18 w 30"/>
                <a:gd name="T73" fmla="*/ 23 h 46"/>
                <a:gd name="T74" fmla="*/ 23 w 30"/>
                <a:gd name="T75" fmla="*/ 3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0" h="46">
                  <a:moveTo>
                    <a:pt x="5" y="28"/>
                  </a:moveTo>
                  <a:cubicBezTo>
                    <a:pt x="5" y="34"/>
                    <a:pt x="5" y="39"/>
                    <a:pt x="5" y="41"/>
                  </a:cubicBezTo>
                  <a:cubicBezTo>
                    <a:pt x="4" y="43"/>
                    <a:pt x="4" y="45"/>
                    <a:pt x="3" y="45"/>
                  </a:cubicBezTo>
                  <a:cubicBezTo>
                    <a:pt x="3" y="45"/>
                    <a:pt x="2" y="45"/>
                    <a:pt x="1" y="45"/>
                  </a:cubicBezTo>
                  <a:cubicBezTo>
                    <a:pt x="1" y="45"/>
                    <a:pt x="0" y="45"/>
                    <a:pt x="0" y="46"/>
                  </a:cubicBezTo>
                  <a:cubicBezTo>
                    <a:pt x="0" y="46"/>
                    <a:pt x="1" y="46"/>
                    <a:pt x="1" y="46"/>
                  </a:cubicBezTo>
                  <a:cubicBezTo>
                    <a:pt x="4" y="46"/>
                    <a:pt x="7" y="46"/>
                    <a:pt x="8" y="46"/>
                  </a:cubicBezTo>
                  <a:cubicBezTo>
                    <a:pt x="10" y="46"/>
                    <a:pt x="14" y="46"/>
                    <a:pt x="16" y="46"/>
                  </a:cubicBezTo>
                  <a:cubicBezTo>
                    <a:pt x="25" y="46"/>
                    <a:pt x="30" y="40"/>
                    <a:pt x="30" y="33"/>
                  </a:cubicBezTo>
                  <a:cubicBezTo>
                    <a:pt x="30" y="26"/>
                    <a:pt x="24" y="21"/>
                    <a:pt x="20" y="20"/>
                  </a:cubicBezTo>
                  <a:cubicBezTo>
                    <a:pt x="23" y="17"/>
                    <a:pt x="25" y="14"/>
                    <a:pt x="25" y="9"/>
                  </a:cubicBezTo>
                  <a:cubicBezTo>
                    <a:pt x="25" y="6"/>
                    <a:pt x="24" y="0"/>
                    <a:pt x="14" y="0"/>
                  </a:cubicBezTo>
                  <a:cubicBezTo>
                    <a:pt x="13" y="0"/>
                    <a:pt x="10" y="0"/>
                    <a:pt x="8" y="0"/>
                  </a:cubicBezTo>
                  <a:cubicBezTo>
                    <a:pt x="7" y="0"/>
                    <a:pt x="4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4" y="1"/>
                    <a:pt x="5" y="2"/>
                    <a:pt x="5" y="4"/>
                  </a:cubicBezTo>
                  <a:cubicBezTo>
                    <a:pt x="5" y="6"/>
                    <a:pt x="5" y="8"/>
                    <a:pt x="5" y="17"/>
                  </a:cubicBezTo>
                  <a:lnTo>
                    <a:pt x="5" y="28"/>
                  </a:lnTo>
                  <a:close/>
                  <a:moveTo>
                    <a:pt x="11" y="3"/>
                  </a:moveTo>
                  <a:cubicBezTo>
                    <a:pt x="11" y="3"/>
                    <a:pt x="11" y="2"/>
                    <a:pt x="12" y="2"/>
                  </a:cubicBezTo>
                  <a:cubicBezTo>
                    <a:pt x="12" y="2"/>
                    <a:pt x="13" y="2"/>
                    <a:pt x="13" y="2"/>
                  </a:cubicBezTo>
                  <a:cubicBezTo>
                    <a:pt x="18" y="2"/>
                    <a:pt x="20" y="8"/>
                    <a:pt x="20" y="12"/>
                  </a:cubicBezTo>
                  <a:cubicBezTo>
                    <a:pt x="20" y="15"/>
                    <a:pt x="19" y="17"/>
                    <a:pt x="18" y="18"/>
                  </a:cubicBezTo>
                  <a:cubicBezTo>
                    <a:pt x="17" y="19"/>
                    <a:pt x="16" y="19"/>
                    <a:pt x="14" y="19"/>
                  </a:cubicBezTo>
                  <a:cubicBezTo>
                    <a:pt x="13" y="19"/>
                    <a:pt x="12" y="19"/>
                    <a:pt x="12" y="19"/>
                  </a:cubicBezTo>
                  <a:cubicBezTo>
                    <a:pt x="11" y="19"/>
                    <a:pt x="11" y="19"/>
                    <a:pt x="11" y="19"/>
                  </a:cubicBezTo>
                  <a:lnTo>
                    <a:pt x="11" y="3"/>
                  </a:lnTo>
                  <a:close/>
                  <a:moveTo>
                    <a:pt x="23" y="36"/>
                  </a:moveTo>
                  <a:cubicBezTo>
                    <a:pt x="23" y="42"/>
                    <a:pt x="19" y="44"/>
                    <a:pt x="17" y="44"/>
                  </a:cubicBezTo>
                  <a:cubicBezTo>
                    <a:pt x="16" y="44"/>
                    <a:pt x="14" y="44"/>
                    <a:pt x="13" y="43"/>
                  </a:cubicBezTo>
                  <a:cubicBezTo>
                    <a:pt x="11" y="42"/>
                    <a:pt x="11" y="41"/>
                    <a:pt x="11" y="37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2" y="22"/>
                  </a:cubicBezTo>
                  <a:cubicBezTo>
                    <a:pt x="12" y="22"/>
                    <a:pt x="13" y="22"/>
                    <a:pt x="14" y="22"/>
                  </a:cubicBezTo>
                  <a:cubicBezTo>
                    <a:pt x="16" y="22"/>
                    <a:pt x="17" y="23"/>
                    <a:pt x="18" y="23"/>
                  </a:cubicBezTo>
                  <a:cubicBezTo>
                    <a:pt x="22" y="27"/>
                    <a:pt x="23" y="32"/>
                    <a:pt x="23" y="36"/>
                  </a:cubicBezTo>
                </a:path>
              </a:pathLst>
            </a:custGeom>
            <a:solidFill>
              <a:srgbClr val="1B18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77" name="Freeform 327"/>
            <p:cNvSpPr>
              <a:spLocks/>
            </p:cNvSpPr>
            <p:nvPr/>
          </p:nvSpPr>
          <p:spPr bwMode="gray">
            <a:xfrm>
              <a:off x="1687513" y="-565150"/>
              <a:ext cx="157163" cy="176212"/>
            </a:xfrm>
            <a:custGeom>
              <a:avLst/>
              <a:gdLst>
                <a:gd name="T0" fmla="*/ 5 w 42"/>
                <a:gd name="T1" fmla="*/ 26 h 47"/>
                <a:gd name="T2" fmla="*/ 10 w 42"/>
                <a:gd name="T3" fmla="*/ 43 h 47"/>
                <a:gd name="T4" fmla="*/ 22 w 42"/>
                <a:gd name="T5" fmla="*/ 47 h 47"/>
                <a:gd name="T6" fmla="*/ 33 w 42"/>
                <a:gd name="T7" fmla="*/ 43 h 47"/>
                <a:gd name="T8" fmla="*/ 38 w 42"/>
                <a:gd name="T9" fmla="*/ 24 h 47"/>
                <a:gd name="T10" fmla="*/ 38 w 42"/>
                <a:gd name="T11" fmla="*/ 17 h 47"/>
                <a:gd name="T12" fmla="*/ 38 w 42"/>
                <a:gd name="T13" fmla="*/ 4 h 47"/>
                <a:gd name="T14" fmla="*/ 40 w 42"/>
                <a:gd name="T15" fmla="*/ 1 h 47"/>
                <a:gd name="T16" fmla="*/ 41 w 42"/>
                <a:gd name="T17" fmla="*/ 1 h 47"/>
                <a:gd name="T18" fmla="*/ 42 w 42"/>
                <a:gd name="T19" fmla="*/ 0 h 47"/>
                <a:gd name="T20" fmla="*/ 41 w 42"/>
                <a:gd name="T21" fmla="*/ 0 h 47"/>
                <a:gd name="T22" fmla="*/ 35 w 42"/>
                <a:gd name="T23" fmla="*/ 0 h 47"/>
                <a:gd name="T24" fmla="*/ 29 w 42"/>
                <a:gd name="T25" fmla="*/ 0 h 47"/>
                <a:gd name="T26" fmla="*/ 28 w 42"/>
                <a:gd name="T27" fmla="*/ 0 h 47"/>
                <a:gd name="T28" fmla="*/ 29 w 42"/>
                <a:gd name="T29" fmla="*/ 1 h 47"/>
                <a:gd name="T30" fmla="*/ 31 w 42"/>
                <a:gd name="T31" fmla="*/ 1 h 47"/>
                <a:gd name="T32" fmla="*/ 33 w 42"/>
                <a:gd name="T33" fmla="*/ 4 h 47"/>
                <a:gd name="T34" fmla="*/ 33 w 42"/>
                <a:gd name="T35" fmla="*/ 17 h 47"/>
                <a:gd name="T36" fmla="*/ 33 w 42"/>
                <a:gd name="T37" fmla="*/ 25 h 47"/>
                <a:gd name="T38" fmla="*/ 30 w 42"/>
                <a:gd name="T39" fmla="*/ 41 h 47"/>
                <a:gd name="T40" fmla="*/ 23 w 42"/>
                <a:gd name="T41" fmla="*/ 44 h 47"/>
                <a:gd name="T42" fmla="*/ 16 w 42"/>
                <a:gd name="T43" fmla="*/ 41 h 47"/>
                <a:gd name="T44" fmla="*/ 12 w 42"/>
                <a:gd name="T45" fmla="*/ 26 h 47"/>
                <a:gd name="T46" fmla="*/ 12 w 42"/>
                <a:gd name="T47" fmla="*/ 17 h 47"/>
                <a:gd name="T48" fmla="*/ 12 w 42"/>
                <a:gd name="T49" fmla="*/ 4 h 47"/>
                <a:gd name="T50" fmla="*/ 14 w 42"/>
                <a:gd name="T51" fmla="*/ 1 h 47"/>
                <a:gd name="T52" fmla="*/ 16 w 42"/>
                <a:gd name="T53" fmla="*/ 1 h 47"/>
                <a:gd name="T54" fmla="*/ 16 w 42"/>
                <a:gd name="T55" fmla="*/ 0 h 47"/>
                <a:gd name="T56" fmla="*/ 15 w 42"/>
                <a:gd name="T57" fmla="*/ 0 h 47"/>
                <a:gd name="T58" fmla="*/ 9 w 42"/>
                <a:gd name="T59" fmla="*/ 0 h 47"/>
                <a:gd name="T60" fmla="*/ 1 w 42"/>
                <a:gd name="T61" fmla="*/ 0 h 47"/>
                <a:gd name="T62" fmla="*/ 0 w 42"/>
                <a:gd name="T63" fmla="*/ 0 h 47"/>
                <a:gd name="T64" fmla="*/ 1 w 42"/>
                <a:gd name="T65" fmla="*/ 1 h 47"/>
                <a:gd name="T66" fmla="*/ 3 w 42"/>
                <a:gd name="T67" fmla="*/ 1 h 47"/>
                <a:gd name="T68" fmla="*/ 5 w 42"/>
                <a:gd name="T69" fmla="*/ 4 h 47"/>
                <a:gd name="T70" fmla="*/ 5 w 42"/>
                <a:gd name="T71" fmla="*/ 17 h 47"/>
                <a:gd name="T72" fmla="*/ 5 w 42"/>
                <a:gd name="T73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" h="47">
                  <a:moveTo>
                    <a:pt x="5" y="26"/>
                  </a:moveTo>
                  <a:cubicBezTo>
                    <a:pt x="5" y="35"/>
                    <a:pt x="7" y="40"/>
                    <a:pt x="10" y="43"/>
                  </a:cubicBezTo>
                  <a:cubicBezTo>
                    <a:pt x="14" y="47"/>
                    <a:pt x="19" y="47"/>
                    <a:pt x="22" y="47"/>
                  </a:cubicBezTo>
                  <a:cubicBezTo>
                    <a:pt x="25" y="47"/>
                    <a:pt x="29" y="46"/>
                    <a:pt x="33" y="43"/>
                  </a:cubicBezTo>
                  <a:cubicBezTo>
                    <a:pt x="37" y="38"/>
                    <a:pt x="38" y="31"/>
                    <a:pt x="38" y="24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8"/>
                    <a:pt x="38" y="6"/>
                    <a:pt x="38" y="4"/>
                  </a:cubicBezTo>
                  <a:cubicBezTo>
                    <a:pt x="38" y="2"/>
                    <a:pt x="38" y="1"/>
                    <a:pt x="40" y="1"/>
                  </a:cubicBezTo>
                  <a:cubicBezTo>
                    <a:pt x="40" y="1"/>
                    <a:pt x="41" y="1"/>
                    <a:pt x="41" y="1"/>
                  </a:cubicBezTo>
                  <a:cubicBezTo>
                    <a:pt x="42" y="1"/>
                    <a:pt x="42" y="1"/>
                    <a:pt x="42" y="0"/>
                  </a:cubicBezTo>
                  <a:cubicBezTo>
                    <a:pt x="42" y="0"/>
                    <a:pt x="42" y="0"/>
                    <a:pt x="41" y="0"/>
                  </a:cubicBezTo>
                  <a:cubicBezTo>
                    <a:pt x="39" y="0"/>
                    <a:pt x="36" y="0"/>
                    <a:pt x="35" y="0"/>
                  </a:cubicBezTo>
                  <a:cubicBezTo>
                    <a:pt x="35" y="0"/>
                    <a:pt x="32" y="0"/>
                    <a:pt x="29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1"/>
                    <a:pt x="28" y="1"/>
                    <a:pt x="29" y="1"/>
                  </a:cubicBezTo>
                  <a:cubicBezTo>
                    <a:pt x="29" y="1"/>
                    <a:pt x="30" y="1"/>
                    <a:pt x="31" y="1"/>
                  </a:cubicBezTo>
                  <a:cubicBezTo>
                    <a:pt x="32" y="1"/>
                    <a:pt x="33" y="2"/>
                    <a:pt x="33" y="4"/>
                  </a:cubicBezTo>
                  <a:cubicBezTo>
                    <a:pt x="33" y="6"/>
                    <a:pt x="33" y="8"/>
                    <a:pt x="33" y="17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3" y="32"/>
                    <a:pt x="33" y="37"/>
                    <a:pt x="30" y="41"/>
                  </a:cubicBezTo>
                  <a:cubicBezTo>
                    <a:pt x="28" y="43"/>
                    <a:pt x="25" y="44"/>
                    <a:pt x="23" y="44"/>
                  </a:cubicBezTo>
                  <a:cubicBezTo>
                    <a:pt x="21" y="44"/>
                    <a:pt x="18" y="44"/>
                    <a:pt x="16" y="41"/>
                  </a:cubicBezTo>
                  <a:cubicBezTo>
                    <a:pt x="14" y="39"/>
                    <a:pt x="12" y="35"/>
                    <a:pt x="12" y="26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8"/>
                    <a:pt x="12" y="6"/>
                    <a:pt x="12" y="4"/>
                  </a:cubicBezTo>
                  <a:cubicBezTo>
                    <a:pt x="12" y="2"/>
                    <a:pt x="13" y="1"/>
                    <a:pt x="14" y="1"/>
                  </a:cubicBezTo>
                  <a:cubicBezTo>
                    <a:pt x="15" y="1"/>
                    <a:pt x="15" y="1"/>
                    <a:pt x="16" y="1"/>
                  </a:cubicBezTo>
                  <a:cubicBezTo>
                    <a:pt x="16" y="1"/>
                    <a:pt x="16" y="1"/>
                    <a:pt x="16" y="0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3" y="0"/>
                    <a:pt x="10" y="0"/>
                    <a:pt x="9" y="0"/>
                  </a:cubicBezTo>
                  <a:cubicBezTo>
                    <a:pt x="7" y="0"/>
                    <a:pt x="4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5" y="1"/>
                    <a:pt x="5" y="2"/>
                    <a:pt x="5" y="4"/>
                  </a:cubicBezTo>
                  <a:cubicBezTo>
                    <a:pt x="5" y="6"/>
                    <a:pt x="5" y="8"/>
                    <a:pt x="5" y="17"/>
                  </a:cubicBezTo>
                  <a:lnTo>
                    <a:pt x="5" y="26"/>
                  </a:lnTo>
                  <a:close/>
                </a:path>
              </a:pathLst>
            </a:custGeom>
            <a:solidFill>
              <a:srgbClr val="1B18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78" name="Freeform 328"/>
            <p:cNvSpPr>
              <a:spLocks/>
            </p:cNvSpPr>
            <p:nvPr/>
          </p:nvSpPr>
          <p:spPr bwMode="gray">
            <a:xfrm>
              <a:off x="1879600" y="-568325"/>
              <a:ext cx="82550" cy="179387"/>
            </a:xfrm>
            <a:custGeom>
              <a:avLst/>
              <a:gdLst>
                <a:gd name="T0" fmla="*/ 9 w 22"/>
                <a:gd name="T1" fmla="*/ 48 h 48"/>
                <a:gd name="T2" fmla="*/ 17 w 22"/>
                <a:gd name="T3" fmla="*/ 46 h 48"/>
                <a:gd name="T4" fmla="*/ 22 w 22"/>
                <a:gd name="T5" fmla="*/ 35 h 48"/>
                <a:gd name="T6" fmla="*/ 13 w 22"/>
                <a:gd name="T7" fmla="*/ 19 h 48"/>
                <a:gd name="T8" fmla="*/ 12 w 22"/>
                <a:gd name="T9" fmla="*/ 18 h 48"/>
                <a:gd name="T10" fmla="*/ 6 w 22"/>
                <a:gd name="T11" fmla="*/ 9 h 48"/>
                <a:gd name="T12" fmla="*/ 13 w 22"/>
                <a:gd name="T13" fmla="*/ 3 h 48"/>
                <a:gd name="T14" fmla="*/ 18 w 22"/>
                <a:gd name="T15" fmla="*/ 6 h 48"/>
                <a:gd name="T16" fmla="*/ 20 w 22"/>
                <a:gd name="T17" fmla="*/ 10 h 48"/>
                <a:gd name="T18" fmla="*/ 20 w 22"/>
                <a:gd name="T19" fmla="*/ 11 h 48"/>
                <a:gd name="T20" fmla="*/ 21 w 22"/>
                <a:gd name="T21" fmla="*/ 9 h 48"/>
                <a:gd name="T22" fmla="*/ 21 w 22"/>
                <a:gd name="T23" fmla="*/ 1 h 48"/>
                <a:gd name="T24" fmla="*/ 20 w 22"/>
                <a:gd name="T25" fmla="*/ 1 h 48"/>
                <a:gd name="T26" fmla="*/ 13 w 22"/>
                <a:gd name="T27" fmla="*/ 0 h 48"/>
                <a:gd name="T28" fmla="*/ 1 w 22"/>
                <a:gd name="T29" fmla="*/ 11 h 48"/>
                <a:gd name="T30" fmla="*/ 9 w 22"/>
                <a:gd name="T31" fmla="*/ 26 h 48"/>
                <a:gd name="T32" fmla="*/ 11 w 22"/>
                <a:gd name="T33" fmla="*/ 28 h 48"/>
                <a:gd name="T34" fmla="*/ 16 w 22"/>
                <a:gd name="T35" fmla="*/ 38 h 48"/>
                <a:gd name="T36" fmla="*/ 9 w 22"/>
                <a:gd name="T37" fmla="*/ 45 h 48"/>
                <a:gd name="T38" fmla="*/ 2 w 22"/>
                <a:gd name="T39" fmla="*/ 39 h 48"/>
                <a:gd name="T40" fmla="*/ 1 w 22"/>
                <a:gd name="T41" fmla="*/ 36 h 48"/>
                <a:gd name="T42" fmla="*/ 1 w 22"/>
                <a:gd name="T43" fmla="*/ 35 h 48"/>
                <a:gd name="T44" fmla="*/ 0 w 22"/>
                <a:gd name="T45" fmla="*/ 36 h 48"/>
                <a:gd name="T46" fmla="*/ 0 w 22"/>
                <a:gd name="T47" fmla="*/ 44 h 48"/>
                <a:gd name="T48" fmla="*/ 1 w 22"/>
                <a:gd name="T49" fmla="*/ 47 h 48"/>
                <a:gd name="T50" fmla="*/ 9 w 22"/>
                <a:gd name="T5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" h="48">
                  <a:moveTo>
                    <a:pt x="9" y="48"/>
                  </a:moveTo>
                  <a:cubicBezTo>
                    <a:pt x="11" y="48"/>
                    <a:pt x="14" y="48"/>
                    <a:pt x="17" y="46"/>
                  </a:cubicBezTo>
                  <a:cubicBezTo>
                    <a:pt x="21" y="43"/>
                    <a:pt x="22" y="38"/>
                    <a:pt x="22" y="35"/>
                  </a:cubicBezTo>
                  <a:cubicBezTo>
                    <a:pt x="22" y="29"/>
                    <a:pt x="20" y="25"/>
                    <a:pt x="13" y="19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8" y="14"/>
                    <a:pt x="6" y="12"/>
                    <a:pt x="6" y="9"/>
                  </a:cubicBezTo>
                  <a:cubicBezTo>
                    <a:pt x="6" y="5"/>
                    <a:pt x="9" y="3"/>
                    <a:pt x="13" y="3"/>
                  </a:cubicBezTo>
                  <a:cubicBezTo>
                    <a:pt x="16" y="3"/>
                    <a:pt x="17" y="4"/>
                    <a:pt x="18" y="6"/>
                  </a:cubicBezTo>
                  <a:cubicBezTo>
                    <a:pt x="19" y="7"/>
                    <a:pt x="20" y="9"/>
                    <a:pt x="20" y="10"/>
                  </a:cubicBezTo>
                  <a:cubicBezTo>
                    <a:pt x="20" y="10"/>
                    <a:pt x="20" y="11"/>
                    <a:pt x="20" y="11"/>
                  </a:cubicBezTo>
                  <a:cubicBezTo>
                    <a:pt x="21" y="11"/>
                    <a:pt x="21" y="10"/>
                    <a:pt x="21" y="9"/>
                  </a:cubicBezTo>
                  <a:cubicBezTo>
                    <a:pt x="21" y="4"/>
                    <a:pt x="21" y="2"/>
                    <a:pt x="21" y="1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19" y="0"/>
                    <a:pt x="17" y="0"/>
                    <a:pt x="13" y="0"/>
                  </a:cubicBezTo>
                  <a:cubicBezTo>
                    <a:pt x="6" y="0"/>
                    <a:pt x="1" y="5"/>
                    <a:pt x="1" y="11"/>
                  </a:cubicBezTo>
                  <a:cubicBezTo>
                    <a:pt x="1" y="16"/>
                    <a:pt x="3" y="21"/>
                    <a:pt x="9" y="26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6" y="32"/>
                    <a:pt x="16" y="35"/>
                    <a:pt x="16" y="38"/>
                  </a:cubicBezTo>
                  <a:cubicBezTo>
                    <a:pt x="16" y="41"/>
                    <a:pt x="14" y="45"/>
                    <a:pt x="9" y="45"/>
                  </a:cubicBezTo>
                  <a:cubicBezTo>
                    <a:pt x="6" y="45"/>
                    <a:pt x="3" y="43"/>
                    <a:pt x="2" y="39"/>
                  </a:cubicBezTo>
                  <a:cubicBezTo>
                    <a:pt x="2" y="38"/>
                    <a:pt x="1" y="37"/>
                    <a:pt x="1" y="36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5"/>
                    <a:pt x="0" y="35"/>
                    <a:pt x="0" y="36"/>
                  </a:cubicBezTo>
                  <a:cubicBezTo>
                    <a:pt x="0" y="37"/>
                    <a:pt x="0" y="41"/>
                    <a:pt x="0" y="44"/>
                  </a:cubicBezTo>
                  <a:cubicBezTo>
                    <a:pt x="0" y="46"/>
                    <a:pt x="0" y="46"/>
                    <a:pt x="1" y="47"/>
                  </a:cubicBezTo>
                  <a:cubicBezTo>
                    <a:pt x="3" y="48"/>
                    <a:pt x="6" y="48"/>
                    <a:pt x="9" y="48"/>
                  </a:cubicBezTo>
                </a:path>
              </a:pathLst>
            </a:custGeom>
            <a:solidFill>
              <a:srgbClr val="1B18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79" name="Freeform 329"/>
            <p:cNvSpPr>
              <a:spLocks/>
            </p:cNvSpPr>
            <p:nvPr/>
          </p:nvSpPr>
          <p:spPr bwMode="gray">
            <a:xfrm>
              <a:off x="1998663" y="-565150"/>
              <a:ext cx="63500" cy="173037"/>
            </a:xfrm>
            <a:custGeom>
              <a:avLst/>
              <a:gdLst>
                <a:gd name="T0" fmla="*/ 5 w 17"/>
                <a:gd name="T1" fmla="*/ 28 h 46"/>
                <a:gd name="T2" fmla="*/ 5 w 17"/>
                <a:gd name="T3" fmla="*/ 42 h 46"/>
                <a:gd name="T4" fmla="*/ 3 w 17"/>
                <a:gd name="T5" fmla="*/ 45 h 46"/>
                <a:gd name="T6" fmla="*/ 1 w 17"/>
                <a:gd name="T7" fmla="*/ 45 h 46"/>
                <a:gd name="T8" fmla="*/ 1 w 17"/>
                <a:gd name="T9" fmla="*/ 46 h 46"/>
                <a:gd name="T10" fmla="*/ 2 w 17"/>
                <a:gd name="T11" fmla="*/ 46 h 46"/>
                <a:gd name="T12" fmla="*/ 8 w 17"/>
                <a:gd name="T13" fmla="*/ 46 h 46"/>
                <a:gd name="T14" fmla="*/ 16 w 17"/>
                <a:gd name="T15" fmla="*/ 46 h 46"/>
                <a:gd name="T16" fmla="*/ 17 w 17"/>
                <a:gd name="T17" fmla="*/ 46 h 46"/>
                <a:gd name="T18" fmla="*/ 16 w 17"/>
                <a:gd name="T19" fmla="*/ 45 h 46"/>
                <a:gd name="T20" fmla="*/ 14 w 17"/>
                <a:gd name="T21" fmla="*/ 45 h 46"/>
                <a:gd name="T22" fmla="*/ 12 w 17"/>
                <a:gd name="T23" fmla="*/ 42 h 46"/>
                <a:gd name="T24" fmla="*/ 12 w 17"/>
                <a:gd name="T25" fmla="*/ 28 h 46"/>
                <a:gd name="T26" fmla="*/ 12 w 17"/>
                <a:gd name="T27" fmla="*/ 17 h 46"/>
                <a:gd name="T28" fmla="*/ 12 w 17"/>
                <a:gd name="T29" fmla="*/ 4 h 46"/>
                <a:gd name="T30" fmla="*/ 14 w 17"/>
                <a:gd name="T31" fmla="*/ 1 h 46"/>
                <a:gd name="T32" fmla="*/ 15 w 17"/>
                <a:gd name="T33" fmla="*/ 1 h 46"/>
                <a:gd name="T34" fmla="*/ 16 w 17"/>
                <a:gd name="T35" fmla="*/ 0 h 46"/>
                <a:gd name="T36" fmla="*/ 15 w 17"/>
                <a:gd name="T37" fmla="*/ 0 h 46"/>
                <a:gd name="T38" fmla="*/ 8 w 17"/>
                <a:gd name="T39" fmla="*/ 0 h 46"/>
                <a:gd name="T40" fmla="*/ 2 w 17"/>
                <a:gd name="T41" fmla="*/ 0 h 46"/>
                <a:gd name="T42" fmla="*/ 0 w 17"/>
                <a:gd name="T43" fmla="*/ 0 h 46"/>
                <a:gd name="T44" fmla="*/ 1 w 17"/>
                <a:gd name="T45" fmla="*/ 1 h 46"/>
                <a:gd name="T46" fmla="*/ 3 w 17"/>
                <a:gd name="T47" fmla="*/ 1 h 46"/>
                <a:gd name="T48" fmla="*/ 5 w 17"/>
                <a:gd name="T49" fmla="*/ 4 h 46"/>
                <a:gd name="T50" fmla="*/ 5 w 17"/>
                <a:gd name="T51" fmla="*/ 17 h 46"/>
                <a:gd name="T52" fmla="*/ 5 w 17"/>
                <a:gd name="T53" fmla="*/ 2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" h="46">
                  <a:moveTo>
                    <a:pt x="5" y="28"/>
                  </a:moveTo>
                  <a:cubicBezTo>
                    <a:pt x="5" y="34"/>
                    <a:pt x="5" y="39"/>
                    <a:pt x="5" y="42"/>
                  </a:cubicBezTo>
                  <a:cubicBezTo>
                    <a:pt x="5" y="44"/>
                    <a:pt x="4" y="45"/>
                    <a:pt x="3" y="45"/>
                  </a:cubicBezTo>
                  <a:cubicBezTo>
                    <a:pt x="3" y="45"/>
                    <a:pt x="2" y="45"/>
                    <a:pt x="1" y="45"/>
                  </a:cubicBezTo>
                  <a:cubicBezTo>
                    <a:pt x="1" y="45"/>
                    <a:pt x="1" y="45"/>
                    <a:pt x="1" y="46"/>
                  </a:cubicBezTo>
                  <a:cubicBezTo>
                    <a:pt x="1" y="46"/>
                    <a:pt x="1" y="46"/>
                    <a:pt x="2" y="46"/>
                  </a:cubicBezTo>
                  <a:cubicBezTo>
                    <a:pt x="4" y="46"/>
                    <a:pt x="7" y="46"/>
                    <a:pt x="8" y="46"/>
                  </a:cubicBezTo>
                  <a:cubicBezTo>
                    <a:pt x="10" y="46"/>
                    <a:pt x="13" y="46"/>
                    <a:pt x="16" y="46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5" y="45"/>
                    <a:pt x="14" y="45"/>
                  </a:cubicBezTo>
                  <a:cubicBezTo>
                    <a:pt x="12" y="45"/>
                    <a:pt x="12" y="44"/>
                    <a:pt x="12" y="42"/>
                  </a:cubicBezTo>
                  <a:cubicBezTo>
                    <a:pt x="12" y="39"/>
                    <a:pt x="12" y="34"/>
                    <a:pt x="12" y="28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8"/>
                    <a:pt x="12" y="6"/>
                    <a:pt x="12" y="4"/>
                  </a:cubicBezTo>
                  <a:cubicBezTo>
                    <a:pt x="12" y="2"/>
                    <a:pt x="12" y="1"/>
                    <a:pt x="14" y="1"/>
                  </a:cubicBezTo>
                  <a:cubicBezTo>
                    <a:pt x="14" y="1"/>
                    <a:pt x="15" y="1"/>
                    <a:pt x="15" y="1"/>
                  </a:cubicBezTo>
                  <a:cubicBezTo>
                    <a:pt x="16" y="1"/>
                    <a:pt x="16" y="1"/>
                    <a:pt x="16" y="0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3" y="0"/>
                    <a:pt x="10" y="0"/>
                    <a:pt x="8" y="0"/>
                  </a:cubicBezTo>
                  <a:cubicBezTo>
                    <a:pt x="7" y="0"/>
                    <a:pt x="4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4" y="1"/>
                    <a:pt x="5" y="2"/>
                    <a:pt x="5" y="4"/>
                  </a:cubicBezTo>
                  <a:cubicBezTo>
                    <a:pt x="5" y="6"/>
                    <a:pt x="5" y="8"/>
                    <a:pt x="5" y="17"/>
                  </a:cubicBezTo>
                  <a:lnTo>
                    <a:pt x="5" y="28"/>
                  </a:lnTo>
                  <a:close/>
                </a:path>
              </a:pathLst>
            </a:custGeom>
            <a:solidFill>
              <a:srgbClr val="1B18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80" name="Freeform 330"/>
            <p:cNvSpPr>
              <a:spLocks/>
            </p:cNvSpPr>
            <p:nvPr/>
          </p:nvSpPr>
          <p:spPr bwMode="gray">
            <a:xfrm>
              <a:off x="2092325" y="-568325"/>
              <a:ext cx="165100" cy="179387"/>
            </a:xfrm>
            <a:custGeom>
              <a:avLst/>
              <a:gdLst>
                <a:gd name="T0" fmla="*/ 9 w 44"/>
                <a:gd name="T1" fmla="*/ 13 h 48"/>
                <a:gd name="T2" fmla="*/ 9 w 44"/>
                <a:gd name="T3" fmla="*/ 13 h 48"/>
                <a:gd name="T4" fmla="*/ 21 w 44"/>
                <a:gd name="T5" fmla="*/ 28 h 48"/>
                <a:gd name="T6" fmla="*/ 37 w 44"/>
                <a:gd name="T7" fmla="*/ 47 h 48"/>
                <a:gd name="T8" fmla="*/ 39 w 44"/>
                <a:gd name="T9" fmla="*/ 48 h 48"/>
                <a:gd name="T10" fmla="*/ 39 w 44"/>
                <a:gd name="T11" fmla="*/ 46 h 48"/>
                <a:gd name="T12" fmla="*/ 40 w 44"/>
                <a:gd name="T13" fmla="*/ 7 h 48"/>
                <a:gd name="T14" fmla="*/ 42 w 44"/>
                <a:gd name="T15" fmla="*/ 2 h 48"/>
                <a:gd name="T16" fmla="*/ 43 w 44"/>
                <a:gd name="T17" fmla="*/ 2 h 48"/>
                <a:gd name="T18" fmla="*/ 44 w 44"/>
                <a:gd name="T19" fmla="*/ 1 h 48"/>
                <a:gd name="T20" fmla="*/ 43 w 44"/>
                <a:gd name="T21" fmla="*/ 1 h 48"/>
                <a:gd name="T22" fmla="*/ 38 w 44"/>
                <a:gd name="T23" fmla="*/ 1 h 48"/>
                <a:gd name="T24" fmla="*/ 32 w 44"/>
                <a:gd name="T25" fmla="*/ 1 h 48"/>
                <a:gd name="T26" fmla="*/ 30 w 44"/>
                <a:gd name="T27" fmla="*/ 1 h 48"/>
                <a:gd name="T28" fmla="*/ 31 w 44"/>
                <a:gd name="T29" fmla="*/ 2 h 48"/>
                <a:gd name="T30" fmla="*/ 34 w 44"/>
                <a:gd name="T31" fmla="*/ 2 h 48"/>
                <a:gd name="T32" fmla="*/ 36 w 44"/>
                <a:gd name="T33" fmla="*/ 8 h 48"/>
                <a:gd name="T34" fmla="*/ 36 w 44"/>
                <a:gd name="T35" fmla="*/ 35 h 48"/>
                <a:gd name="T36" fmla="*/ 36 w 44"/>
                <a:gd name="T37" fmla="*/ 35 h 48"/>
                <a:gd name="T38" fmla="*/ 24 w 44"/>
                <a:gd name="T39" fmla="*/ 21 h 48"/>
                <a:gd name="T40" fmla="*/ 8 w 44"/>
                <a:gd name="T41" fmla="*/ 1 h 48"/>
                <a:gd name="T42" fmla="*/ 6 w 44"/>
                <a:gd name="T43" fmla="*/ 0 h 48"/>
                <a:gd name="T44" fmla="*/ 6 w 44"/>
                <a:gd name="T45" fmla="*/ 2 h 48"/>
                <a:gd name="T46" fmla="*/ 5 w 44"/>
                <a:gd name="T47" fmla="*/ 38 h 48"/>
                <a:gd name="T48" fmla="*/ 3 w 44"/>
                <a:gd name="T49" fmla="*/ 46 h 48"/>
                <a:gd name="T50" fmla="*/ 1 w 44"/>
                <a:gd name="T51" fmla="*/ 46 h 48"/>
                <a:gd name="T52" fmla="*/ 0 w 44"/>
                <a:gd name="T53" fmla="*/ 47 h 48"/>
                <a:gd name="T54" fmla="*/ 1 w 44"/>
                <a:gd name="T55" fmla="*/ 47 h 48"/>
                <a:gd name="T56" fmla="*/ 7 w 44"/>
                <a:gd name="T57" fmla="*/ 47 h 48"/>
                <a:gd name="T58" fmla="*/ 14 w 44"/>
                <a:gd name="T59" fmla="*/ 47 h 48"/>
                <a:gd name="T60" fmla="*/ 15 w 44"/>
                <a:gd name="T61" fmla="*/ 47 h 48"/>
                <a:gd name="T62" fmla="*/ 14 w 44"/>
                <a:gd name="T63" fmla="*/ 46 h 48"/>
                <a:gd name="T64" fmla="*/ 11 w 44"/>
                <a:gd name="T65" fmla="*/ 46 h 48"/>
                <a:gd name="T66" fmla="*/ 9 w 44"/>
                <a:gd name="T67" fmla="*/ 39 h 48"/>
                <a:gd name="T68" fmla="*/ 9 w 44"/>
                <a:gd name="T69" fmla="*/ 1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" h="48">
                  <a:moveTo>
                    <a:pt x="9" y="13"/>
                  </a:moveTo>
                  <a:cubicBezTo>
                    <a:pt x="9" y="13"/>
                    <a:pt x="9" y="13"/>
                    <a:pt x="9" y="13"/>
                  </a:cubicBezTo>
                  <a:cubicBezTo>
                    <a:pt x="10" y="14"/>
                    <a:pt x="16" y="22"/>
                    <a:pt x="21" y="28"/>
                  </a:cubicBezTo>
                  <a:cubicBezTo>
                    <a:pt x="27" y="35"/>
                    <a:pt x="33" y="43"/>
                    <a:pt x="37" y="47"/>
                  </a:cubicBezTo>
                  <a:cubicBezTo>
                    <a:pt x="37" y="47"/>
                    <a:pt x="38" y="48"/>
                    <a:pt x="39" y="48"/>
                  </a:cubicBezTo>
                  <a:cubicBezTo>
                    <a:pt x="39" y="48"/>
                    <a:pt x="39" y="47"/>
                    <a:pt x="39" y="46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4"/>
                    <a:pt x="40" y="2"/>
                    <a:pt x="42" y="2"/>
                  </a:cubicBezTo>
                  <a:cubicBezTo>
                    <a:pt x="42" y="2"/>
                    <a:pt x="43" y="2"/>
                    <a:pt x="43" y="2"/>
                  </a:cubicBezTo>
                  <a:cubicBezTo>
                    <a:pt x="44" y="2"/>
                    <a:pt x="44" y="1"/>
                    <a:pt x="44" y="1"/>
                  </a:cubicBezTo>
                  <a:cubicBezTo>
                    <a:pt x="44" y="1"/>
                    <a:pt x="44" y="1"/>
                    <a:pt x="43" y="1"/>
                  </a:cubicBezTo>
                  <a:cubicBezTo>
                    <a:pt x="41" y="1"/>
                    <a:pt x="39" y="1"/>
                    <a:pt x="38" y="1"/>
                  </a:cubicBezTo>
                  <a:cubicBezTo>
                    <a:pt x="37" y="1"/>
                    <a:pt x="34" y="1"/>
                    <a:pt x="32" y="1"/>
                  </a:cubicBezTo>
                  <a:cubicBezTo>
                    <a:pt x="31" y="1"/>
                    <a:pt x="30" y="1"/>
                    <a:pt x="30" y="1"/>
                  </a:cubicBezTo>
                  <a:cubicBezTo>
                    <a:pt x="30" y="1"/>
                    <a:pt x="30" y="2"/>
                    <a:pt x="31" y="2"/>
                  </a:cubicBezTo>
                  <a:cubicBezTo>
                    <a:pt x="32" y="2"/>
                    <a:pt x="33" y="2"/>
                    <a:pt x="34" y="2"/>
                  </a:cubicBezTo>
                  <a:cubicBezTo>
                    <a:pt x="35" y="3"/>
                    <a:pt x="36" y="4"/>
                    <a:pt x="36" y="8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5" y="34"/>
                    <a:pt x="28" y="25"/>
                    <a:pt x="24" y="21"/>
                  </a:cubicBezTo>
                  <a:cubicBezTo>
                    <a:pt x="17" y="12"/>
                    <a:pt x="9" y="2"/>
                    <a:pt x="8" y="1"/>
                  </a:cubicBezTo>
                  <a:cubicBezTo>
                    <a:pt x="7" y="0"/>
                    <a:pt x="7" y="0"/>
                    <a:pt x="6" y="0"/>
                  </a:cubicBezTo>
                  <a:cubicBezTo>
                    <a:pt x="6" y="0"/>
                    <a:pt x="6" y="0"/>
                    <a:pt x="6" y="2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44"/>
                    <a:pt x="5" y="45"/>
                    <a:pt x="3" y="46"/>
                  </a:cubicBezTo>
                  <a:cubicBezTo>
                    <a:pt x="3" y="46"/>
                    <a:pt x="2" y="46"/>
                    <a:pt x="1" y="46"/>
                  </a:cubicBezTo>
                  <a:cubicBezTo>
                    <a:pt x="1" y="46"/>
                    <a:pt x="0" y="46"/>
                    <a:pt x="0" y="47"/>
                  </a:cubicBezTo>
                  <a:cubicBezTo>
                    <a:pt x="0" y="47"/>
                    <a:pt x="1" y="47"/>
                    <a:pt x="1" y="47"/>
                  </a:cubicBezTo>
                  <a:cubicBezTo>
                    <a:pt x="4" y="47"/>
                    <a:pt x="7" y="47"/>
                    <a:pt x="7" y="47"/>
                  </a:cubicBezTo>
                  <a:cubicBezTo>
                    <a:pt x="8" y="47"/>
                    <a:pt x="10" y="47"/>
                    <a:pt x="14" y="47"/>
                  </a:cubicBezTo>
                  <a:cubicBezTo>
                    <a:pt x="14" y="47"/>
                    <a:pt x="15" y="47"/>
                    <a:pt x="15" y="47"/>
                  </a:cubicBezTo>
                  <a:cubicBezTo>
                    <a:pt x="15" y="46"/>
                    <a:pt x="14" y="46"/>
                    <a:pt x="14" y="46"/>
                  </a:cubicBezTo>
                  <a:cubicBezTo>
                    <a:pt x="13" y="46"/>
                    <a:pt x="12" y="46"/>
                    <a:pt x="11" y="46"/>
                  </a:cubicBezTo>
                  <a:cubicBezTo>
                    <a:pt x="10" y="45"/>
                    <a:pt x="9" y="44"/>
                    <a:pt x="9" y="39"/>
                  </a:cubicBezTo>
                  <a:lnTo>
                    <a:pt x="9" y="13"/>
                  </a:lnTo>
                  <a:close/>
                </a:path>
              </a:pathLst>
            </a:custGeom>
            <a:solidFill>
              <a:srgbClr val="1B18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81" name="Freeform 331"/>
            <p:cNvSpPr>
              <a:spLocks/>
            </p:cNvSpPr>
            <p:nvPr/>
          </p:nvSpPr>
          <p:spPr bwMode="gray">
            <a:xfrm>
              <a:off x="2292350" y="-568325"/>
              <a:ext cx="100013" cy="176212"/>
            </a:xfrm>
            <a:custGeom>
              <a:avLst/>
              <a:gdLst>
                <a:gd name="T0" fmla="*/ 6 w 27"/>
                <a:gd name="T1" fmla="*/ 29 h 47"/>
                <a:gd name="T2" fmla="*/ 5 w 27"/>
                <a:gd name="T3" fmla="*/ 42 h 47"/>
                <a:gd name="T4" fmla="*/ 4 w 27"/>
                <a:gd name="T5" fmla="*/ 46 h 47"/>
                <a:gd name="T6" fmla="*/ 2 w 27"/>
                <a:gd name="T7" fmla="*/ 46 h 47"/>
                <a:gd name="T8" fmla="*/ 1 w 27"/>
                <a:gd name="T9" fmla="*/ 47 h 47"/>
                <a:gd name="T10" fmla="*/ 2 w 27"/>
                <a:gd name="T11" fmla="*/ 47 h 47"/>
                <a:gd name="T12" fmla="*/ 9 w 27"/>
                <a:gd name="T13" fmla="*/ 47 h 47"/>
                <a:gd name="T14" fmla="*/ 23 w 27"/>
                <a:gd name="T15" fmla="*/ 47 h 47"/>
                <a:gd name="T16" fmla="*/ 26 w 27"/>
                <a:gd name="T17" fmla="*/ 46 h 47"/>
                <a:gd name="T18" fmla="*/ 27 w 27"/>
                <a:gd name="T19" fmla="*/ 39 h 47"/>
                <a:gd name="T20" fmla="*/ 26 w 27"/>
                <a:gd name="T21" fmla="*/ 38 h 47"/>
                <a:gd name="T22" fmla="*/ 26 w 27"/>
                <a:gd name="T23" fmla="*/ 39 h 47"/>
                <a:gd name="T24" fmla="*/ 23 w 27"/>
                <a:gd name="T25" fmla="*/ 43 h 47"/>
                <a:gd name="T26" fmla="*/ 19 w 27"/>
                <a:gd name="T27" fmla="*/ 44 h 47"/>
                <a:gd name="T28" fmla="*/ 12 w 27"/>
                <a:gd name="T29" fmla="*/ 39 h 47"/>
                <a:gd name="T30" fmla="*/ 12 w 27"/>
                <a:gd name="T31" fmla="*/ 29 h 47"/>
                <a:gd name="T32" fmla="*/ 12 w 27"/>
                <a:gd name="T33" fmla="*/ 24 h 47"/>
                <a:gd name="T34" fmla="*/ 13 w 27"/>
                <a:gd name="T35" fmla="*/ 24 h 47"/>
                <a:gd name="T36" fmla="*/ 20 w 27"/>
                <a:gd name="T37" fmla="*/ 24 h 47"/>
                <a:gd name="T38" fmla="*/ 23 w 27"/>
                <a:gd name="T39" fmla="*/ 26 h 47"/>
                <a:gd name="T40" fmla="*/ 23 w 27"/>
                <a:gd name="T41" fmla="*/ 29 h 47"/>
                <a:gd name="T42" fmla="*/ 24 w 27"/>
                <a:gd name="T43" fmla="*/ 29 h 47"/>
                <a:gd name="T44" fmla="*/ 24 w 27"/>
                <a:gd name="T45" fmla="*/ 28 h 47"/>
                <a:gd name="T46" fmla="*/ 24 w 27"/>
                <a:gd name="T47" fmla="*/ 24 h 47"/>
                <a:gd name="T48" fmla="*/ 25 w 27"/>
                <a:gd name="T49" fmla="*/ 19 h 47"/>
                <a:gd name="T50" fmla="*/ 24 w 27"/>
                <a:gd name="T51" fmla="*/ 19 h 47"/>
                <a:gd name="T52" fmla="*/ 23 w 27"/>
                <a:gd name="T53" fmla="*/ 20 h 47"/>
                <a:gd name="T54" fmla="*/ 21 w 27"/>
                <a:gd name="T55" fmla="*/ 21 h 47"/>
                <a:gd name="T56" fmla="*/ 13 w 27"/>
                <a:gd name="T57" fmla="*/ 21 h 47"/>
                <a:gd name="T58" fmla="*/ 12 w 27"/>
                <a:gd name="T59" fmla="*/ 20 h 47"/>
                <a:gd name="T60" fmla="*/ 12 w 27"/>
                <a:gd name="T61" fmla="*/ 4 h 47"/>
                <a:gd name="T62" fmla="*/ 13 w 27"/>
                <a:gd name="T63" fmla="*/ 4 h 47"/>
                <a:gd name="T64" fmla="*/ 20 w 27"/>
                <a:gd name="T65" fmla="*/ 4 h 47"/>
                <a:gd name="T66" fmla="*/ 24 w 27"/>
                <a:gd name="T67" fmla="*/ 6 h 47"/>
                <a:gd name="T68" fmla="*/ 24 w 27"/>
                <a:gd name="T69" fmla="*/ 9 h 47"/>
                <a:gd name="T70" fmla="*/ 24 w 27"/>
                <a:gd name="T71" fmla="*/ 9 h 47"/>
                <a:gd name="T72" fmla="*/ 25 w 27"/>
                <a:gd name="T73" fmla="*/ 9 h 47"/>
                <a:gd name="T74" fmla="*/ 25 w 27"/>
                <a:gd name="T75" fmla="*/ 5 h 47"/>
                <a:gd name="T76" fmla="*/ 26 w 27"/>
                <a:gd name="T77" fmla="*/ 1 h 47"/>
                <a:gd name="T78" fmla="*/ 25 w 27"/>
                <a:gd name="T79" fmla="*/ 0 h 47"/>
                <a:gd name="T80" fmla="*/ 24 w 27"/>
                <a:gd name="T81" fmla="*/ 0 h 47"/>
                <a:gd name="T82" fmla="*/ 22 w 27"/>
                <a:gd name="T83" fmla="*/ 1 h 47"/>
                <a:gd name="T84" fmla="*/ 9 w 27"/>
                <a:gd name="T85" fmla="*/ 1 h 47"/>
                <a:gd name="T86" fmla="*/ 1 w 27"/>
                <a:gd name="T87" fmla="*/ 1 h 47"/>
                <a:gd name="T88" fmla="*/ 0 w 27"/>
                <a:gd name="T89" fmla="*/ 1 h 47"/>
                <a:gd name="T90" fmla="*/ 1 w 27"/>
                <a:gd name="T91" fmla="*/ 2 h 47"/>
                <a:gd name="T92" fmla="*/ 3 w 27"/>
                <a:gd name="T93" fmla="*/ 2 h 47"/>
                <a:gd name="T94" fmla="*/ 6 w 27"/>
                <a:gd name="T95" fmla="*/ 5 h 47"/>
                <a:gd name="T96" fmla="*/ 6 w 27"/>
                <a:gd name="T97" fmla="*/ 18 h 47"/>
                <a:gd name="T98" fmla="*/ 6 w 27"/>
                <a:gd name="T99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" h="47">
                  <a:moveTo>
                    <a:pt x="6" y="29"/>
                  </a:moveTo>
                  <a:cubicBezTo>
                    <a:pt x="6" y="35"/>
                    <a:pt x="6" y="40"/>
                    <a:pt x="5" y="42"/>
                  </a:cubicBezTo>
                  <a:cubicBezTo>
                    <a:pt x="5" y="44"/>
                    <a:pt x="5" y="46"/>
                    <a:pt x="4" y="46"/>
                  </a:cubicBezTo>
                  <a:cubicBezTo>
                    <a:pt x="3" y="46"/>
                    <a:pt x="3" y="46"/>
                    <a:pt x="2" y="46"/>
                  </a:cubicBezTo>
                  <a:cubicBezTo>
                    <a:pt x="1" y="46"/>
                    <a:pt x="1" y="46"/>
                    <a:pt x="1" y="47"/>
                  </a:cubicBezTo>
                  <a:cubicBezTo>
                    <a:pt x="1" y="47"/>
                    <a:pt x="1" y="47"/>
                    <a:pt x="2" y="47"/>
                  </a:cubicBezTo>
                  <a:cubicBezTo>
                    <a:pt x="4" y="47"/>
                    <a:pt x="8" y="47"/>
                    <a:pt x="9" y="47"/>
                  </a:cubicBezTo>
                  <a:cubicBezTo>
                    <a:pt x="12" y="47"/>
                    <a:pt x="15" y="47"/>
                    <a:pt x="23" y="47"/>
                  </a:cubicBezTo>
                  <a:cubicBezTo>
                    <a:pt x="25" y="47"/>
                    <a:pt x="26" y="47"/>
                    <a:pt x="26" y="46"/>
                  </a:cubicBezTo>
                  <a:cubicBezTo>
                    <a:pt x="26" y="45"/>
                    <a:pt x="27" y="40"/>
                    <a:pt x="27" y="39"/>
                  </a:cubicBezTo>
                  <a:cubicBezTo>
                    <a:pt x="27" y="38"/>
                    <a:pt x="27" y="38"/>
                    <a:pt x="26" y="38"/>
                  </a:cubicBezTo>
                  <a:cubicBezTo>
                    <a:pt x="26" y="38"/>
                    <a:pt x="26" y="38"/>
                    <a:pt x="26" y="39"/>
                  </a:cubicBezTo>
                  <a:cubicBezTo>
                    <a:pt x="25" y="41"/>
                    <a:pt x="25" y="43"/>
                    <a:pt x="23" y="43"/>
                  </a:cubicBezTo>
                  <a:cubicBezTo>
                    <a:pt x="22" y="44"/>
                    <a:pt x="20" y="44"/>
                    <a:pt x="19" y="44"/>
                  </a:cubicBezTo>
                  <a:cubicBezTo>
                    <a:pt x="13" y="44"/>
                    <a:pt x="12" y="43"/>
                    <a:pt x="12" y="39"/>
                  </a:cubicBezTo>
                  <a:cubicBezTo>
                    <a:pt x="12" y="37"/>
                    <a:pt x="12" y="31"/>
                    <a:pt x="12" y="29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3" y="24"/>
                  </a:cubicBezTo>
                  <a:cubicBezTo>
                    <a:pt x="14" y="24"/>
                    <a:pt x="19" y="24"/>
                    <a:pt x="20" y="24"/>
                  </a:cubicBezTo>
                  <a:cubicBezTo>
                    <a:pt x="22" y="24"/>
                    <a:pt x="23" y="25"/>
                    <a:pt x="23" y="26"/>
                  </a:cubicBezTo>
                  <a:cubicBezTo>
                    <a:pt x="23" y="27"/>
                    <a:pt x="23" y="28"/>
                    <a:pt x="23" y="29"/>
                  </a:cubicBezTo>
                  <a:cubicBezTo>
                    <a:pt x="23" y="29"/>
                    <a:pt x="23" y="29"/>
                    <a:pt x="24" y="29"/>
                  </a:cubicBezTo>
                  <a:cubicBezTo>
                    <a:pt x="24" y="29"/>
                    <a:pt x="24" y="29"/>
                    <a:pt x="24" y="28"/>
                  </a:cubicBezTo>
                  <a:cubicBezTo>
                    <a:pt x="24" y="28"/>
                    <a:pt x="24" y="25"/>
                    <a:pt x="24" y="24"/>
                  </a:cubicBezTo>
                  <a:cubicBezTo>
                    <a:pt x="24" y="21"/>
                    <a:pt x="25" y="20"/>
                    <a:pt x="25" y="19"/>
                  </a:cubicBezTo>
                  <a:cubicBezTo>
                    <a:pt x="25" y="19"/>
                    <a:pt x="25" y="19"/>
                    <a:pt x="24" y="19"/>
                  </a:cubicBezTo>
                  <a:cubicBezTo>
                    <a:pt x="24" y="19"/>
                    <a:pt x="24" y="19"/>
                    <a:pt x="23" y="20"/>
                  </a:cubicBezTo>
                  <a:cubicBezTo>
                    <a:pt x="23" y="20"/>
                    <a:pt x="22" y="21"/>
                    <a:pt x="21" y="21"/>
                  </a:cubicBezTo>
                  <a:cubicBezTo>
                    <a:pt x="20" y="21"/>
                    <a:pt x="14" y="21"/>
                    <a:pt x="13" y="21"/>
                  </a:cubicBezTo>
                  <a:cubicBezTo>
                    <a:pt x="12" y="21"/>
                    <a:pt x="12" y="21"/>
                    <a:pt x="12" y="20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3" y="4"/>
                  </a:cubicBezTo>
                  <a:cubicBezTo>
                    <a:pt x="14" y="4"/>
                    <a:pt x="19" y="4"/>
                    <a:pt x="20" y="4"/>
                  </a:cubicBezTo>
                  <a:cubicBezTo>
                    <a:pt x="23" y="4"/>
                    <a:pt x="23" y="5"/>
                    <a:pt x="24" y="6"/>
                  </a:cubicBezTo>
                  <a:cubicBezTo>
                    <a:pt x="24" y="7"/>
                    <a:pt x="24" y="8"/>
                    <a:pt x="24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8"/>
                    <a:pt x="25" y="5"/>
                    <a:pt x="25" y="5"/>
                  </a:cubicBezTo>
                  <a:cubicBezTo>
                    <a:pt x="25" y="2"/>
                    <a:pt x="26" y="1"/>
                    <a:pt x="26" y="1"/>
                  </a:cubicBezTo>
                  <a:cubicBezTo>
                    <a:pt x="26" y="0"/>
                    <a:pt x="25" y="0"/>
                    <a:pt x="25" y="0"/>
                  </a:cubicBezTo>
                  <a:cubicBezTo>
                    <a:pt x="25" y="0"/>
                    <a:pt x="25" y="0"/>
                    <a:pt x="24" y="0"/>
                  </a:cubicBezTo>
                  <a:cubicBezTo>
                    <a:pt x="24" y="0"/>
                    <a:pt x="23" y="1"/>
                    <a:pt x="22" y="1"/>
                  </a:cubicBezTo>
                  <a:cubicBezTo>
                    <a:pt x="21" y="1"/>
                    <a:pt x="11" y="1"/>
                    <a:pt x="9" y="1"/>
                  </a:cubicBezTo>
                  <a:cubicBezTo>
                    <a:pt x="8" y="1"/>
                    <a:pt x="4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5" y="2"/>
                    <a:pt x="5" y="3"/>
                    <a:pt x="6" y="5"/>
                  </a:cubicBezTo>
                  <a:cubicBezTo>
                    <a:pt x="6" y="7"/>
                    <a:pt x="6" y="9"/>
                    <a:pt x="6" y="18"/>
                  </a:cubicBezTo>
                  <a:lnTo>
                    <a:pt x="6" y="29"/>
                  </a:lnTo>
                  <a:close/>
                </a:path>
              </a:pathLst>
            </a:custGeom>
            <a:solidFill>
              <a:srgbClr val="1B18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82" name="Freeform 332"/>
            <p:cNvSpPr>
              <a:spLocks/>
            </p:cNvSpPr>
            <p:nvPr/>
          </p:nvSpPr>
          <p:spPr bwMode="gray">
            <a:xfrm>
              <a:off x="2430463" y="-568325"/>
              <a:ext cx="82550" cy="179387"/>
            </a:xfrm>
            <a:custGeom>
              <a:avLst/>
              <a:gdLst>
                <a:gd name="T0" fmla="*/ 9 w 22"/>
                <a:gd name="T1" fmla="*/ 48 h 48"/>
                <a:gd name="T2" fmla="*/ 17 w 22"/>
                <a:gd name="T3" fmla="*/ 46 h 48"/>
                <a:gd name="T4" fmla="*/ 22 w 22"/>
                <a:gd name="T5" fmla="*/ 35 h 48"/>
                <a:gd name="T6" fmla="*/ 14 w 22"/>
                <a:gd name="T7" fmla="*/ 19 h 48"/>
                <a:gd name="T8" fmla="*/ 12 w 22"/>
                <a:gd name="T9" fmla="*/ 18 h 48"/>
                <a:gd name="T10" fmla="*/ 7 w 22"/>
                <a:gd name="T11" fmla="*/ 9 h 48"/>
                <a:gd name="T12" fmla="*/ 13 w 22"/>
                <a:gd name="T13" fmla="*/ 3 h 48"/>
                <a:gd name="T14" fmla="*/ 19 w 22"/>
                <a:gd name="T15" fmla="*/ 6 h 48"/>
                <a:gd name="T16" fmla="*/ 20 w 22"/>
                <a:gd name="T17" fmla="*/ 10 h 48"/>
                <a:gd name="T18" fmla="*/ 21 w 22"/>
                <a:gd name="T19" fmla="*/ 11 h 48"/>
                <a:gd name="T20" fmla="*/ 21 w 22"/>
                <a:gd name="T21" fmla="*/ 9 h 48"/>
                <a:gd name="T22" fmla="*/ 21 w 22"/>
                <a:gd name="T23" fmla="*/ 1 h 48"/>
                <a:gd name="T24" fmla="*/ 21 w 22"/>
                <a:gd name="T25" fmla="*/ 1 h 48"/>
                <a:gd name="T26" fmla="*/ 14 w 22"/>
                <a:gd name="T27" fmla="*/ 0 h 48"/>
                <a:gd name="T28" fmla="*/ 2 w 22"/>
                <a:gd name="T29" fmla="*/ 11 h 48"/>
                <a:gd name="T30" fmla="*/ 9 w 22"/>
                <a:gd name="T31" fmla="*/ 26 h 48"/>
                <a:gd name="T32" fmla="*/ 12 w 22"/>
                <a:gd name="T33" fmla="*/ 28 h 48"/>
                <a:gd name="T34" fmla="*/ 17 w 22"/>
                <a:gd name="T35" fmla="*/ 38 h 48"/>
                <a:gd name="T36" fmla="*/ 10 w 22"/>
                <a:gd name="T37" fmla="*/ 45 h 48"/>
                <a:gd name="T38" fmla="*/ 2 w 22"/>
                <a:gd name="T39" fmla="*/ 39 h 48"/>
                <a:gd name="T40" fmla="*/ 2 w 22"/>
                <a:gd name="T41" fmla="*/ 36 h 48"/>
                <a:gd name="T42" fmla="*/ 1 w 22"/>
                <a:gd name="T43" fmla="*/ 35 h 48"/>
                <a:gd name="T44" fmla="*/ 1 w 22"/>
                <a:gd name="T45" fmla="*/ 36 h 48"/>
                <a:gd name="T46" fmla="*/ 0 w 22"/>
                <a:gd name="T47" fmla="*/ 44 h 48"/>
                <a:gd name="T48" fmla="*/ 1 w 22"/>
                <a:gd name="T49" fmla="*/ 47 h 48"/>
                <a:gd name="T50" fmla="*/ 9 w 22"/>
                <a:gd name="T5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" h="48">
                  <a:moveTo>
                    <a:pt x="9" y="48"/>
                  </a:moveTo>
                  <a:cubicBezTo>
                    <a:pt x="12" y="48"/>
                    <a:pt x="15" y="48"/>
                    <a:pt x="17" y="46"/>
                  </a:cubicBezTo>
                  <a:cubicBezTo>
                    <a:pt x="21" y="43"/>
                    <a:pt x="22" y="38"/>
                    <a:pt x="22" y="35"/>
                  </a:cubicBezTo>
                  <a:cubicBezTo>
                    <a:pt x="22" y="29"/>
                    <a:pt x="20" y="25"/>
                    <a:pt x="14" y="19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8" y="14"/>
                    <a:pt x="7" y="12"/>
                    <a:pt x="7" y="9"/>
                  </a:cubicBezTo>
                  <a:cubicBezTo>
                    <a:pt x="7" y="5"/>
                    <a:pt x="9" y="3"/>
                    <a:pt x="13" y="3"/>
                  </a:cubicBezTo>
                  <a:cubicBezTo>
                    <a:pt x="16" y="3"/>
                    <a:pt x="18" y="4"/>
                    <a:pt x="19" y="6"/>
                  </a:cubicBezTo>
                  <a:cubicBezTo>
                    <a:pt x="20" y="7"/>
                    <a:pt x="20" y="9"/>
                    <a:pt x="20" y="10"/>
                  </a:cubicBezTo>
                  <a:cubicBezTo>
                    <a:pt x="20" y="10"/>
                    <a:pt x="20" y="11"/>
                    <a:pt x="21" y="11"/>
                  </a:cubicBezTo>
                  <a:cubicBezTo>
                    <a:pt x="21" y="11"/>
                    <a:pt x="21" y="10"/>
                    <a:pt x="21" y="9"/>
                  </a:cubicBezTo>
                  <a:cubicBezTo>
                    <a:pt x="21" y="4"/>
                    <a:pt x="21" y="2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9" y="0"/>
                    <a:pt x="17" y="0"/>
                    <a:pt x="14" y="0"/>
                  </a:cubicBezTo>
                  <a:cubicBezTo>
                    <a:pt x="6" y="0"/>
                    <a:pt x="2" y="5"/>
                    <a:pt x="2" y="11"/>
                  </a:cubicBezTo>
                  <a:cubicBezTo>
                    <a:pt x="2" y="16"/>
                    <a:pt x="4" y="21"/>
                    <a:pt x="9" y="26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6" y="32"/>
                    <a:pt x="17" y="35"/>
                    <a:pt x="17" y="38"/>
                  </a:cubicBezTo>
                  <a:cubicBezTo>
                    <a:pt x="17" y="41"/>
                    <a:pt x="15" y="45"/>
                    <a:pt x="10" y="45"/>
                  </a:cubicBezTo>
                  <a:cubicBezTo>
                    <a:pt x="7" y="45"/>
                    <a:pt x="4" y="43"/>
                    <a:pt x="2" y="39"/>
                  </a:cubicBezTo>
                  <a:cubicBezTo>
                    <a:pt x="2" y="38"/>
                    <a:pt x="2" y="37"/>
                    <a:pt x="2" y="36"/>
                  </a:cubicBezTo>
                  <a:cubicBezTo>
                    <a:pt x="2" y="35"/>
                    <a:pt x="2" y="35"/>
                    <a:pt x="1" y="35"/>
                  </a:cubicBezTo>
                  <a:cubicBezTo>
                    <a:pt x="1" y="35"/>
                    <a:pt x="1" y="35"/>
                    <a:pt x="1" y="36"/>
                  </a:cubicBezTo>
                  <a:cubicBezTo>
                    <a:pt x="1" y="37"/>
                    <a:pt x="0" y="41"/>
                    <a:pt x="0" y="44"/>
                  </a:cubicBezTo>
                  <a:cubicBezTo>
                    <a:pt x="0" y="46"/>
                    <a:pt x="1" y="46"/>
                    <a:pt x="1" y="47"/>
                  </a:cubicBezTo>
                  <a:cubicBezTo>
                    <a:pt x="4" y="48"/>
                    <a:pt x="6" y="48"/>
                    <a:pt x="9" y="48"/>
                  </a:cubicBezTo>
                </a:path>
              </a:pathLst>
            </a:custGeom>
            <a:solidFill>
              <a:srgbClr val="1B18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83" name="Freeform 333"/>
            <p:cNvSpPr>
              <a:spLocks/>
            </p:cNvSpPr>
            <p:nvPr/>
          </p:nvSpPr>
          <p:spPr bwMode="gray">
            <a:xfrm>
              <a:off x="2557463" y="-568325"/>
              <a:ext cx="82550" cy="179387"/>
            </a:xfrm>
            <a:custGeom>
              <a:avLst/>
              <a:gdLst>
                <a:gd name="T0" fmla="*/ 8 w 22"/>
                <a:gd name="T1" fmla="*/ 48 h 48"/>
                <a:gd name="T2" fmla="*/ 17 w 22"/>
                <a:gd name="T3" fmla="*/ 46 h 48"/>
                <a:gd name="T4" fmla="*/ 22 w 22"/>
                <a:gd name="T5" fmla="*/ 35 h 48"/>
                <a:gd name="T6" fmla="*/ 13 w 22"/>
                <a:gd name="T7" fmla="*/ 19 h 48"/>
                <a:gd name="T8" fmla="*/ 11 w 22"/>
                <a:gd name="T9" fmla="*/ 18 h 48"/>
                <a:gd name="T10" fmla="*/ 6 w 22"/>
                <a:gd name="T11" fmla="*/ 9 h 48"/>
                <a:gd name="T12" fmla="*/ 12 w 22"/>
                <a:gd name="T13" fmla="*/ 3 h 48"/>
                <a:gd name="T14" fmla="*/ 18 w 22"/>
                <a:gd name="T15" fmla="*/ 6 h 48"/>
                <a:gd name="T16" fmla="*/ 19 w 22"/>
                <a:gd name="T17" fmla="*/ 10 h 48"/>
                <a:gd name="T18" fmla="*/ 20 w 22"/>
                <a:gd name="T19" fmla="*/ 11 h 48"/>
                <a:gd name="T20" fmla="*/ 20 w 22"/>
                <a:gd name="T21" fmla="*/ 9 h 48"/>
                <a:gd name="T22" fmla="*/ 21 w 22"/>
                <a:gd name="T23" fmla="*/ 1 h 48"/>
                <a:gd name="T24" fmla="*/ 20 w 22"/>
                <a:gd name="T25" fmla="*/ 1 h 48"/>
                <a:gd name="T26" fmla="*/ 13 w 22"/>
                <a:gd name="T27" fmla="*/ 0 h 48"/>
                <a:gd name="T28" fmla="*/ 1 w 22"/>
                <a:gd name="T29" fmla="*/ 11 h 48"/>
                <a:gd name="T30" fmla="*/ 8 w 22"/>
                <a:gd name="T31" fmla="*/ 26 h 48"/>
                <a:gd name="T32" fmla="*/ 11 w 22"/>
                <a:gd name="T33" fmla="*/ 28 h 48"/>
                <a:gd name="T34" fmla="*/ 16 w 22"/>
                <a:gd name="T35" fmla="*/ 38 h 48"/>
                <a:gd name="T36" fmla="*/ 9 w 22"/>
                <a:gd name="T37" fmla="*/ 45 h 48"/>
                <a:gd name="T38" fmla="*/ 2 w 22"/>
                <a:gd name="T39" fmla="*/ 39 h 48"/>
                <a:gd name="T40" fmla="*/ 1 w 22"/>
                <a:gd name="T41" fmla="*/ 36 h 48"/>
                <a:gd name="T42" fmla="*/ 1 w 22"/>
                <a:gd name="T43" fmla="*/ 35 h 48"/>
                <a:gd name="T44" fmla="*/ 0 w 22"/>
                <a:gd name="T45" fmla="*/ 36 h 48"/>
                <a:gd name="T46" fmla="*/ 0 w 22"/>
                <a:gd name="T47" fmla="*/ 44 h 48"/>
                <a:gd name="T48" fmla="*/ 1 w 22"/>
                <a:gd name="T49" fmla="*/ 47 h 48"/>
                <a:gd name="T50" fmla="*/ 8 w 22"/>
                <a:gd name="T5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" h="48">
                  <a:moveTo>
                    <a:pt x="8" y="48"/>
                  </a:moveTo>
                  <a:cubicBezTo>
                    <a:pt x="11" y="48"/>
                    <a:pt x="14" y="48"/>
                    <a:pt x="17" y="46"/>
                  </a:cubicBezTo>
                  <a:cubicBezTo>
                    <a:pt x="20" y="43"/>
                    <a:pt x="22" y="38"/>
                    <a:pt x="22" y="35"/>
                  </a:cubicBezTo>
                  <a:cubicBezTo>
                    <a:pt x="22" y="29"/>
                    <a:pt x="19" y="25"/>
                    <a:pt x="13" y="19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7" y="14"/>
                    <a:pt x="6" y="12"/>
                    <a:pt x="6" y="9"/>
                  </a:cubicBezTo>
                  <a:cubicBezTo>
                    <a:pt x="6" y="5"/>
                    <a:pt x="8" y="3"/>
                    <a:pt x="12" y="3"/>
                  </a:cubicBezTo>
                  <a:cubicBezTo>
                    <a:pt x="16" y="3"/>
                    <a:pt x="17" y="4"/>
                    <a:pt x="18" y="6"/>
                  </a:cubicBezTo>
                  <a:cubicBezTo>
                    <a:pt x="19" y="7"/>
                    <a:pt x="19" y="9"/>
                    <a:pt x="19" y="10"/>
                  </a:cubicBezTo>
                  <a:cubicBezTo>
                    <a:pt x="19" y="10"/>
                    <a:pt x="19" y="11"/>
                    <a:pt x="20" y="11"/>
                  </a:cubicBezTo>
                  <a:cubicBezTo>
                    <a:pt x="20" y="11"/>
                    <a:pt x="20" y="10"/>
                    <a:pt x="20" y="9"/>
                  </a:cubicBezTo>
                  <a:cubicBezTo>
                    <a:pt x="20" y="4"/>
                    <a:pt x="21" y="2"/>
                    <a:pt x="21" y="1"/>
                  </a:cubicBezTo>
                  <a:cubicBezTo>
                    <a:pt x="21" y="1"/>
                    <a:pt x="20" y="1"/>
                    <a:pt x="20" y="1"/>
                  </a:cubicBezTo>
                  <a:cubicBezTo>
                    <a:pt x="18" y="0"/>
                    <a:pt x="16" y="0"/>
                    <a:pt x="13" y="0"/>
                  </a:cubicBezTo>
                  <a:cubicBezTo>
                    <a:pt x="6" y="0"/>
                    <a:pt x="1" y="5"/>
                    <a:pt x="1" y="11"/>
                  </a:cubicBezTo>
                  <a:cubicBezTo>
                    <a:pt x="1" y="16"/>
                    <a:pt x="3" y="21"/>
                    <a:pt x="8" y="26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5" y="32"/>
                    <a:pt x="16" y="35"/>
                    <a:pt x="16" y="38"/>
                  </a:cubicBezTo>
                  <a:cubicBezTo>
                    <a:pt x="16" y="41"/>
                    <a:pt x="14" y="45"/>
                    <a:pt x="9" y="45"/>
                  </a:cubicBezTo>
                  <a:cubicBezTo>
                    <a:pt x="6" y="45"/>
                    <a:pt x="3" y="43"/>
                    <a:pt x="2" y="39"/>
                  </a:cubicBezTo>
                  <a:cubicBezTo>
                    <a:pt x="1" y="38"/>
                    <a:pt x="1" y="37"/>
                    <a:pt x="1" y="36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5"/>
                    <a:pt x="0" y="35"/>
                    <a:pt x="0" y="36"/>
                  </a:cubicBezTo>
                  <a:cubicBezTo>
                    <a:pt x="0" y="37"/>
                    <a:pt x="0" y="41"/>
                    <a:pt x="0" y="44"/>
                  </a:cubicBezTo>
                  <a:cubicBezTo>
                    <a:pt x="0" y="46"/>
                    <a:pt x="0" y="46"/>
                    <a:pt x="1" y="47"/>
                  </a:cubicBezTo>
                  <a:cubicBezTo>
                    <a:pt x="3" y="48"/>
                    <a:pt x="5" y="48"/>
                    <a:pt x="8" y="48"/>
                  </a:cubicBezTo>
                </a:path>
              </a:pathLst>
            </a:custGeom>
            <a:solidFill>
              <a:srgbClr val="1B18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84" name="Freeform 334"/>
            <p:cNvSpPr>
              <a:spLocks/>
            </p:cNvSpPr>
            <p:nvPr/>
          </p:nvSpPr>
          <p:spPr bwMode="gray">
            <a:xfrm>
              <a:off x="2749550" y="-568325"/>
              <a:ext cx="82550" cy="179387"/>
            </a:xfrm>
            <a:custGeom>
              <a:avLst/>
              <a:gdLst>
                <a:gd name="T0" fmla="*/ 9 w 22"/>
                <a:gd name="T1" fmla="*/ 48 h 48"/>
                <a:gd name="T2" fmla="*/ 17 w 22"/>
                <a:gd name="T3" fmla="*/ 46 h 48"/>
                <a:gd name="T4" fmla="*/ 22 w 22"/>
                <a:gd name="T5" fmla="*/ 35 h 48"/>
                <a:gd name="T6" fmla="*/ 13 w 22"/>
                <a:gd name="T7" fmla="*/ 19 h 48"/>
                <a:gd name="T8" fmla="*/ 12 w 22"/>
                <a:gd name="T9" fmla="*/ 18 h 48"/>
                <a:gd name="T10" fmla="*/ 6 w 22"/>
                <a:gd name="T11" fmla="*/ 9 h 48"/>
                <a:gd name="T12" fmla="*/ 13 w 22"/>
                <a:gd name="T13" fmla="*/ 3 h 48"/>
                <a:gd name="T14" fmla="*/ 18 w 22"/>
                <a:gd name="T15" fmla="*/ 6 h 48"/>
                <a:gd name="T16" fmla="*/ 20 w 22"/>
                <a:gd name="T17" fmla="*/ 10 h 48"/>
                <a:gd name="T18" fmla="*/ 20 w 22"/>
                <a:gd name="T19" fmla="*/ 11 h 48"/>
                <a:gd name="T20" fmla="*/ 21 w 22"/>
                <a:gd name="T21" fmla="*/ 9 h 48"/>
                <a:gd name="T22" fmla="*/ 21 w 22"/>
                <a:gd name="T23" fmla="*/ 1 h 48"/>
                <a:gd name="T24" fmla="*/ 20 w 22"/>
                <a:gd name="T25" fmla="*/ 1 h 48"/>
                <a:gd name="T26" fmla="*/ 13 w 22"/>
                <a:gd name="T27" fmla="*/ 0 h 48"/>
                <a:gd name="T28" fmla="*/ 1 w 22"/>
                <a:gd name="T29" fmla="*/ 11 h 48"/>
                <a:gd name="T30" fmla="*/ 9 w 22"/>
                <a:gd name="T31" fmla="*/ 26 h 48"/>
                <a:gd name="T32" fmla="*/ 11 w 22"/>
                <a:gd name="T33" fmla="*/ 28 h 48"/>
                <a:gd name="T34" fmla="*/ 16 w 22"/>
                <a:gd name="T35" fmla="*/ 38 h 48"/>
                <a:gd name="T36" fmla="*/ 9 w 22"/>
                <a:gd name="T37" fmla="*/ 45 h 48"/>
                <a:gd name="T38" fmla="*/ 2 w 22"/>
                <a:gd name="T39" fmla="*/ 39 h 48"/>
                <a:gd name="T40" fmla="*/ 1 w 22"/>
                <a:gd name="T41" fmla="*/ 36 h 48"/>
                <a:gd name="T42" fmla="*/ 1 w 22"/>
                <a:gd name="T43" fmla="*/ 35 h 48"/>
                <a:gd name="T44" fmla="*/ 0 w 22"/>
                <a:gd name="T45" fmla="*/ 36 h 48"/>
                <a:gd name="T46" fmla="*/ 0 w 22"/>
                <a:gd name="T47" fmla="*/ 44 h 48"/>
                <a:gd name="T48" fmla="*/ 1 w 22"/>
                <a:gd name="T49" fmla="*/ 47 h 48"/>
                <a:gd name="T50" fmla="*/ 9 w 22"/>
                <a:gd name="T5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" h="48">
                  <a:moveTo>
                    <a:pt x="9" y="48"/>
                  </a:moveTo>
                  <a:cubicBezTo>
                    <a:pt x="11" y="48"/>
                    <a:pt x="14" y="48"/>
                    <a:pt x="17" y="46"/>
                  </a:cubicBezTo>
                  <a:cubicBezTo>
                    <a:pt x="21" y="43"/>
                    <a:pt x="22" y="38"/>
                    <a:pt x="22" y="35"/>
                  </a:cubicBezTo>
                  <a:cubicBezTo>
                    <a:pt x="22" y="29"/>
                    <a:pt x="20" y="25"/>
                    <a:pt x="13" y="19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7" y="14"/>
                    <a:pt x="6" y="12"/>
                    <a:pt x="6" y="9"/>
                  </a:cubicBezTo>
                  <a:cubicBezTo>
                    <a:pt x="6" y="5"/>
                    <a:pt x="9" y="3"/>
                    <a:pt x="13" y="3"/>
                  </a:cubicBezTo>
                  <a:cubicBezTo>
                    <a:pt x="16" y="3"/>
                    <a:pt x="17" y="4"/>
                    <a:pt x="18" y="6"/>
                  </a:cubicBezTo>
                  <a:cubicBezTo>
                    <a:pt x="19" y="7"/>
                    <a:pt x="20" y="9"/>
                    <a:pt x="20" y="10"/>
                  </a:cubicBezTo>
                  <a:cubicBezTo>
                    <a:pt x="20" y="10"/>
                    <a:pt x="20" y="11"/>
                    <a:pt x="20" y="11"/>
                  </a:cubicBezTo>
                  <a:cubicBezTo>
                    <a:pt x="21" y="11"/>
                    <a:pt x="21" y="10"/>
                    <a:pt x="21" y="9"/>
                  </a:cubicBezTo>
                  <a:cubicBezTo>
                    <a:pt x="21" y="4"/>
                    <a:pt x="21" y="2"/>
                    <a:pt x="21" y="1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19" y="0"/>
                    <a:pt x="17" y="0"/>
                    <a:pt x="13" y="0"/>
                  </a:cubicBezTo>
                  <a:cubicBezTo>
                    <a:pt x="6" y="0"/>
                    <a:pt x="1" y="5"/>
                    <a:pt x="1" y="11"/>
                  </a:cubicBezTo>
                  <a:cubicBezTo>
                    <a:pt x="1" y="16"/>
                    <a:pt x="3" y="21"/>
                    <a:pt x="9" y="26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6" y="32"/>
                    <a:pt x="16" y="35"/>
                    <a:pt x="16" y="38"/>
                  </a:cubicBezTo>
                  <a:cubicBezTo>
                    <a:pt x="16" y="41"/>
                    <a:pt x="14" y="45"/>
                    <a:pt x="9" y="45"/>
                  </a:cubicBezTo>
                  <a:cubicBezTo>
                    <a:pt x="6" y="45"/>
                    <a:pt x="3" y="43"/>
                    <a:pt x="2" y="39"/>
                  </a:cubicBezTo>
                  <a:cubicBezTo>
                    <a:pt x="2" y="38"/>
                    <a:pt x="1" y="37"/>
                    <a:pt x="1" y="36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5"/>
                    <a:pt x="0" y="35"/>
                    <a:pt x="0" y="36"/>
                  </a:cubicBezTo>
                  <a:cubicBezTo>
                    <a:pt x="0" y="37"/>
                    <a:pt x="0" y="41"/>
                    <a:pt x="0" y="44"/>
                  </a:cubicBezTo>
                  <a:cubicBezTo>
                    <a:pt x="0" y="46"/>
                    <a:pt x="0" y="46"/>
                    <a:pt x="1" y="47"/>
                  </a:cubicBezTo>
                  <a:cubicBezTo>
                    <a:pt x="3" y="48"/>
                    <a:pt x="6" y="48"/>
                    <a:pt x="9" y="48"/>
                  </a:cubicBezTo>
                </a:path>
              </a:pathLst>
            </a:custGeom>
            <a:solidFill>
              <a:srgbClr val="1B18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85" name="Freeform 335"/>
            <p:cNvSpPr>
              <a:spLocks/>
            </p:cNvSpPr>
            <p:nvPr/>
          </p:nvSpPr>
          <p:spPr bwMode="gray">
            <a:xfrm>
              <a:off x="2865438" y="-568325"/>
              <a:ext cx="138113" cy="179387"/>
            </a:xfrm>
            <a:custGeom>
              <a:avLst/>
              <a:gdLst>
                <a:gd name="T0" fmla="*/ 25 w 37"/>
                <a:gd name="T1" fmla="*/ 48 h 48"/>
                <a:gd name="T2" fmla="*/ 34 w 37"/>
                <a:gd name="T3" fmla="*/ 47 h 48"/>
                <a:gd name="T4" fmla="*/ 36 w 37"/>
                <a:gd name="T5" fmla="*/ 45 h 48"/>
                <a:gd name="T6" fmla="*/ 37 w 37"/>
                <a:gd name="T7" fmla="*/ 37 h 48"/>
                <a:gd name="T8" fmla="*/ 36 w 37"/>
                <a:gd name="T9" fmla="*/ 36 h 48"/>
                <a:gd name="T10" fmla="*/ 36 w 37"/>
                <a:gd name="T11" fmla="*/ 37 h 48"/>
                <a:gd name="T12" fmla="*/ 34 w 37"/>
                <a:gd name="T13" fmla="*/ 41 h 48"/>
                <a:gd name="T14" fmla="*/ 24 w 37"/>
                <a:gd name="T15" fmla="*/ 45 h 48"/>
                <a:gd name="T16" fmla="*/ 8 w 37"/>
                <a:gd name="T17" fmla="*/ 23 h 48"/>
                <a:gd name="T18" fmla="*/ 12 w 37"/>
                <a:gd name="T19" fmla="*/ 7 h 48"/>
                <a:gd name="T20" fmla="*/ 22 w 37"/>
                <a:gd name="T21" fmla="*/ 3 h 48"/>
                <a:gd name="T22" fmla="*/ 33 w 37"/>
                <a:gd name="T23" fmla="*/ 7 h 48"/>
                <a:gd name="T24" fmla="*/ 35 w 37"/>
                <a:gd name="T25" fmla="*/ 12 h 48"/>
                <a:gd name="T26" fmla="*/ 36 w 37"/>
                <a:gd name="T27" fmla="*/ 14 h 48"/>
                <a:gd name="T28" fmla="*/ 36 w 37"/>
                <a:gd name="T29" fmla="*/ 12 h 48"/>
                <a:gd name="T30" fmla="*/ 36 w 37"/>
                <a:gd name="T31" fmla="*/ 5 h 48"/>
                <a:gd name="T32" fmla="*/ 37 w 37"/>
                <a:gd name="T33" fmla="*/ 2 h 48"/>
                <a:gd name="T34" fmla="*/ 36 w 37"/>
                <a:gd name="T35" fmla="*/ 1 h 48"/>
                <a:gd name="T36" fmla="*/ 31 w 37"/>
                <a:gd name="T37" fmla="*/ 0 h 48"/>
                <a:gd name="T38" fmla="*/ 23 w 37"/>
                <a:gd name="T39" fmla="*/ 0 h 48"/>
                <a:gd name="T40" fmla="*/ 6 w 37"/>
                <a:gd name="T41" fmla="*/ 6 h 48"/>
                <a:gd name="T42" fmla="*/ 0 w 37"/>
                <a:gd name="T43" fmla="*/ 23 h 48"/>
                <a:gd name="T44" fmla="*/ 7 w 37"/>
                <a:gd name="T45" fmla="*/ 41 h 48"/>
                <a:gd name="T46" fmla="*/ 25 w 37"/>
                <a:gd name="T47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7" h="48">
                  <a:moveTo>
                    <a:pt x="25" y="48"/>
                  </a:moveTo>
                  <a:cubicBezTo>
                    <a:pt x="28" y="48"/>
                    <a:pt x="32" y="48"/>
                    <a:pt x="34" y="47"/>
                  </a:cubicBezTo>
                  <a:cubicBezTo>
                    <a:pt x="35" y="46"/>
                    <a:pt x="35" y="46"/>
                    <a:pt x="36" y="45"/>
                  </a:cubicBezTo>
                  <a:cubicBezTo>
                    <a:pt x="36" y="43"/>
                    <a:pt x="37" y="37"/>
                    <a:pt x="37" y="37"/>
                  </a:cubicBezTo>
                  <a:cubicBezTo>
                    <a:pt x="37" y="36"/>
                    <a:pt x="37" y="36"/>
                    <a:pt x="36" y="36"/>
                  </a:cubicBezTo>
                  <a:cubicBezTo>
                    <a:pt x="36" y="36"/>
                    <a:pt x="36" y="36"/>
                    <a:pt x="36" y="37"/>
                  </a:cubicBezTo>
                  <a:cubicBezTo>
                    <a:pt x="35" y="38"/>
                    <a:pt x="35" y="40"/>
                    <a:pt x="34" y="41"/>
                  </a:cubicBezTo>
                  <a:cubicBezTo>
                    <a:pt x="32" y="44"/>
                    <a:pt x="29" y="45"/>
                    <a:pt x="24" y="45"/>
                  </a:cubicBezTo>
                  <a:cubicBezTo>
                    <a:pt x="17" y="45"/>
                    <a:pt x="8" y="37"/>
                    <a:pt x="8" y="23"/>
                  </a:cubicBezTo>
                  <a:cubicBezTo>
                    <a:pt x="8" y="17"/>
                    <a:pt x="9" y="11"/>
                    <a:pt x="12" y="7"/>
                  </a:cubicBezTo>
                  <a:cubicBezTo>
                    <a:pt x="15" y="4"/>
                    <a:pt x="18" y="3"/>
                    <a:pt x="22" y="3"/>
                  </a:cubicBezTo>
                  <a:cubicBezTo>
                    <a:pt x="27" y="3"/>
                    <a:pt x="31" y="4"/>
                    <a:pt x="33" y="7"/>
                  </a:cubicBezTo>
                  <a:cubicBezTo>
                    <a:pt x="34" y="8"/>
                    <a:pt x="35" y="10"/>
                    <a:pt x="35" y="12"/>
                  </a:cubicBezTo>
                  <a:cubicBezTo>
                    <a:pt x="35" y="13"/>
                    <a:pt x="35" y="14"/>
                    <a:pt x="36" y="14"/>
                  </a:cubicBezTo>
                  <a:cubicBezTo>
                    <a:pt x="36" y="14"/>
                    <a:pt x="36" y="13"/>
                    <a:pt x="36" y="12"/>
                  </a:cubicBezTo>
                  <a:cubicBezTo>
                    <a:pt x="36" y="11"/>
                    <a:pt x="36" y="8"/>
                    <a:pt x="36" y="5"/>
                  </a:cubicBezTo>
                  <a:cubicBezTo>
                    <a:pt x="36" y="3"/>
                    <a:pt x="37" y="3"/>
                    <a:pt x="37" y="2"/>
                  </a:cubicBezTo>
                  <a:cubicBezTo>
                    <a:pt x="37" y="2"/>
                    <a:pt x="36" y="1"/>
                    <a:pt x="36" y="1"/>
                  </a:cubicBezTo>
                  <a:cubicBezTo>
                    <a:pt x="34" y="1"/>
                    <a:pt x="33" y="1"/>
                    <a:pt x="31" y="0"/>
                  </a:cubicBezTo>
                  <a:cubicBezTo>
                    <a:pt x="28" y="0"/>
                    <a:pt x="26" y="0"/>
                    <a:pt x="23" y="0"/>
                  </a:cubicBezTo>
                  <a:cubicBezTo>
                    <a:pt x="15" y="0"/>
                    <a:pt x="10" y="2"/>
                    <a:pt x="6" y="6"/>
                  </a:cubicBezTo>
                  <a:cubicBezTo>
                    <a:pt x="1" y="12"/>
                    <a:pt x="0" y="19"/>
                    <a:pt x="0" y="23"/>
                  </a:cubicBezTo>
                  <a:cubicBezTo>
                    <a:pt x="0" y="29"/>
                    <a:pt x="2" y="36"/>
                    <a:pt x="7" y="41"/>
                  </a:cubicBezTo>
                  <a:cubicBezTo>
                    <a:pt x="12" y="46"/>
                    <a:pt x="18" y="48"/>
                    <a:pt x="25" y="48"/>
                  </a:cubicBezTo>
                </a:path>
              </a:pathLst>
            </a:custGeom>
            <a:solidFill>
              <a:srgbClr val="1B18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86" name="Freeform 336"/>
            <p:cNvSpPr>
              <a:spLocks/>
            </p:cNvSpPr>
            <p:nvPr/>
          </p:nvSpPr>
          <p:spPr bwMode="gray">
            <a:xfrm>
              <a:off x="3033713" y="-565150"/>
              <a:ext cx="169863" cy="173037"/>
            </a:xfrm>
            <a:custGeom>
              <a:avLst/>
              <a:gdLst>
                <a:gd name="T0" fmla="*/ 12 w 45"/>
                <a:gd name="T1" fmla="*/ 19 h 46"/>
                <a:gd name="T2" fmla="*/ 12 w 45"/>
                <a:gd name="T3" fmla="*/ 19 h 46"/>
                <a:gd name="T4" fmla="*/ 12 w 45"/>
                <a:gd name="T5" fmla="*/ 17 h 46"/>
                <a:gd name="T6" fmla="*/ 12 w 45"/>
                <a:gd name="T7" fmla="*/ 4 h 46"/>
                <a:gd name="T8" fmla="*/ 14 w 45"/>
                <a:gd name="T9" fmla="*/ 1 h 46"/>
                <a:gd name="T10" fmla="*/ 16 w 45"/>
                <a:gd name="T11" fmla="*/ 1 h 46"/>
                <a:gd name="T12" fmla="*/ 17 w 45"/>
                <a:gd name="T13" fmla="*/ 0 h 46"/>
                <a:gd name="T14" fmla="*/ 16 w 45"/>
                <a:gd name="T15" fmla="*/ 0 h 46"/>
                <a:gd name="T16" fmla="*/ 9 w 45"/>
                <a:gd name="T17" fmla="*/ 0 h 46"/>
                <a:gd name="T18" fmla="*/ 1 w 45"/>
                <a:gd name="T19" fmla="*/ 0 h 46"/>
                <a:gd name="T20" fmla="*/ 0 w 45"/>
                <a:gd name="T21" fmla="*/ 0 h 46"/>
                <a:gd name="T22" fmla="*/ 1 w 45"/>
                <a:gd name="T23" fmla="*/ 1 h 46"/>
                <a:gd name="T24" fmla="*/ 3 w 45"/>
                <a:gd name="T25" fmla="*/ 1 h 46"/>
                <a:gd name="T26" fmla="*/ 5 w 45"/>
                <a:gd name="T27" fmla="*/ 4 h 46"/>
                <a:gd name="T28" fmla="*/ 6 w 45"/>
                <a:gd name="T29" fmla="*/ 17 h 46"/>
                <a:gd name="T30" fmla="*/ 6 w 45"/>
                <a:gd name="T31" fmla="*/ 28 h 46"/>
                <a:gd name="T32" fmla="*/ 5 w 45"/>
                <a:gd name="T33" fmla="*/ 41 h 46"/>
                <a:gd name="T34" fmla="*/ 4 w 45"/>
                <a:gd name="T35" fmla="*/ 45 h 46"/>
                <a:gd name="T36" fmla="*/ 2 w 45"/>
                <a:gd name="T37" fmla="*/ 45 h 46"/>
                <a:gd name="T38" fmla="*/ 1 w 45"/>
                <a:gd name="T39" fmla="*/ 46 h 46"/>
                <a:gd name="T40" fmla="*/ 2 w 45"/>
                <a:gd name="T41" fmla="*/ 46 h 46"/>
                <a:gd name="T42" fmla="*/ 9 w 45"/>
                <a:gd name="T43" fmla="*/ 46 h 46"/>
                <a:gd name="T44" fmla="*/ 17 w 45"/>
                <a:gd name="T45" fmla="*/ 46 h 46"/>
                <a:gd name="T46" fmla="*/ 18 w 45"/>
                <a:gd name="T47" fmla="*/ 46 h 46"/>
                <a:gd name="T48" fmla="*/ 17 w 45"/>
                <a:gd name="T49" fmla="*/ 45 h 46"/>
                <a:gd name="T50" fmla="*/ 14 w 45"/>
                <a:gd name="T51" fmla="*/ 45 h 46"/>
                <a:gd name="T52" fmla="*/ 12 w 45"/>
                <a:gd name="T53" fmla="*/ 42 h 46"/>
                <a:gd name="T54" fmla="*/ 12 w 45"/>
                <a:gd name="T55" fmla="*/ 28 h 46"/>
                <a:gd name="T56" fmla="*/ 12 w 45"/>
                <a:gd name="T57" fmla="*/ 23 h 46"/>
                <a:gd name="T58" fmla="*/ 12 w 45"/>
                <a:gd name="T59" fmla="*/ 23 h 46"/>
                <a:gd name="T60" fmla="*/ 32 w 45"/>
                <a:gd name="T61" fmla="*/ 23 h 46"/>
                <a:gd name="T62" fmla="*/ 33 w 45"/>
                <a:gd name="T63" fmla="*/ 23 h 46"/>
                <a:gd name="T64" fmla="*/ 33 w 45"/>
                <a:gd name="T65" fmla="*/ 28 h 46"/>
                <a:gd name="T66" fmla="*/ 32 w 45"/>
                <a:gd name="T67" fmla="*/ 41 h 46"/>
                <a:gd name="T68" fmla="*/ 31 w 45"/>
                <a:gd name="T69" fmla="*/ 45 h 46"/>
                <a:gd name="T70" fmla="*/ 29 w 45"/>
                <a:gd name="T71" fmla="*/ 45 h 46"/>
                <a:gd name="T72" fmla="*/ 28 w 45"/>
                <a:gd name="T73" fmla="*/ 46 h 46"/>
                <a:gd name="T74" fmla="*/ 29 w 45"/>
                <a:gd name="T75" fmla="*/ 46 h 46"/>
                <a:gd name="T76" fmla="*/ 36 w 45"/>
                <a:gd name="T77" fmla="*/ 46 h 46"/>
                <a:gd name="T78" fmla="*/ 44 w 45"/>
                <a:gd name="T79" fmla="*/ 46 h 46"/>
                <a:gd name="T80" fmla="*/ 45 w 45"/>
                <a:gd name="T81" fmla="*/ 46 h 46"/>
                <a:gd name="T82" fmla="*/ 44 w 45"/>
                <a:gd name="T83" fmla="*/ 45 h 46"/>
                <a:gd name="T84" fmla="*/ 42 w 45"/>
                <a:gd name="T85" fmla="*/ 45 h 46"/>
                <a:gd name="T86" fmla="*/ 40 w 45"/>
                <a:gd name="T87" fmla="*/ 42 h 46"/>
                <a:gd name="T88" fmla="*/ 39 w 45"/>
                <a:gd name="T89" fmla="*/ 28 h 46"/>
                <a:gd name="T90" fmla="*/ 39 w 45"/>
                <a:gd name="T91" fmla="*/ 17 h 46"/>
                <a:gd name="T92" fmla="*/ 39 w 45"/>
                <a:gd name="T93" fmla="*/ 4 h 46"/>
                <a:gd name="T94" fmla="*/ 41 w 45"/>
                <a:gd name="T95" fmla="*/ 1 h 46"/>
                <a:gd name="T96" fmla="*/ 43 w 45"/>
                <a:gd name="T97" fmla="*/ 1 h 46"/>
                <a:gd name="T98" fmla="*/ 44 w 45"/>
                <a:gd name="T99" fmla="*/ 0 h 46"/>
                <a:gd name="T100" fmla="*/ 43 w 45"/>
                <a:gd name="T101" fmla="*/ 0 h 46"/>
                <a:gd name="T102" fmla="*/ 36 w 45"/>
                <a:gd name="T103" fmla="*/ 0 h 46"/>
                <a:gd name="T104" fmla="*/ 29 w 45"/>
                <a:gd name="T105" fmla="*/ 0 h 46"/>
                <a:gd name="T106" fmla="*/ 27 w 45"/>
                <a:gd name="T107" fmla="*/ 0 h 46"/>
                <a:gd name="T108" fmla="*/ 28 w 45"/>
                <a:gd name="T109" fmla="*/ 1 h 46"/>
                <a:gd name="T110" fmla="*/ 30 w 45"/>
                <a:gd name="T111" fmla="*/ 1 h 46"/>
                <a:gd name="T112" fmla="*/ 33 w 45"/>
                <a:gd name="T113" fmla="*/ 4 h 46"/>
                <a:gd name="T114" fmla="*/ 33 w 45"/>
                <a:gd name="T115" fmla="*/ 17 h 46"/>
                <a:gd name="T116" fmla="*/ 33 w 45"/>
                <a:gd name="T117" fmla="*/ 19 h 46"/>
                <a:gd name="T118" fmla="*/ 32 w 45"/>
                <a:gd name="T119" fmla="*/ 19 h 46"/>
                <a:gd name="T120" fmla="*/ 12 w 45"/>
                <a:gd name="T121" fmla="*/ 19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5" h="46">
                  <a:moveTo>
                    <a:pt x="12" y="19"/>
                  </a:moveTo>
                  <a:cubicBezTo>
                    <a:pt x="12" y="19"/>
                    <a:pt x="12" y="19"/>
                    <a:pt x="12" y="19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8"/>
                    <a:pt x="12" y="6"/>
                    <a:pt x="12" y="4"/>
                  </a:cubicBezTo>
                  <a:cubicBezTo>
                    <a:pt x="12" y="2"/>
                    <a:pt x="13" y="1"/>
                    <a:pt x="14" y="1"/>
                  </a:cubicBezTo>
                  <a:cubicBezTo>
                    <a:pt x="15" y="1"/>
                    <a:pt x="15" y="1"/>
                    <a:pt x="16" y="1"/>
                  </a:cubicBezTo>
                  <a:cubicBezTo>
                    <a:pt x="16" y="1"/>
                    <a:pt x="17" y="1"/>
                    <a:pt x="17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3" y="0"/>
                    <a:pt x="10" y="0"/>
                    <a:pt x="9" y="0"/>
                  </a:cubicBezTo>
                  <a:cubicBezTo>
                    <a:pt x="8" y="0"/>
                    <a:pt x="4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5" y="1"/>
                    <a:pt x="5" y="2"/>
                    <a:pt x="5" y="4"/>
                  </a:cubicBezTo>
                  <a:cubicBezTo>
                    <a:pt x="6" y="6"/>
                    <a:pt x="6" y="8"/>
                    <a:pt x="6" y="17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34"/>
                    <a:pt x="6" y="39"/>
                    <a:pt x="5" y="41"/>
                  </a:cubicBezTo>
                  <a:cubicBezTo>
                    <a:pt x="5" y="43"/>
                    <a:pt x="5" y="45"/>
                    <a:pt x="4" y="45"/>
                  </a:cubicBezTo>
                  <a:cubicBezTo>
                    <a:pt x="3" y="45"/>
                    <a:pt x="3" y="45"/>
                    <a:pt x="2" y="45"/>
                  </a:cubicBezTo>
                  <a:cubicBezTo>
                    <a:pt x="1" y="45"/>
                    <a:pt x="1" y="45"/>
                    <a:pt x="1" y="46"/>
                  </a:cubicBezTo>
                  <a:cubicBezTo>
                    <a:pt x="1" y="46"/>
                    <a:pt x="1" y="46"/>
                    <a:pt x="2" y="46"/>
                  </a:cubicBezTo>
                  <a:cubicBezTo>
                    <a:pt x="4" y="46"/>
                    <a:pt x="8" y="46"/>
                    <a:pt x="9" y="46"/>
                  </a:cubicBezTo>
                  <a:cubicBezTo>
                    <a:pt x="10" y="46"/>
                    <a:pt x="13" y="46"/>
                    <a:pt x="17" y="46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8" y="45"/>
                    <a:pt x="18" y="45"/>
                    <a:pt x="17" y="45"/>
                  </a:cubicBezTo>
                  <a:cubicBezTo>
                    <a:pt x="16" y="45"/>
                    <a:pt x="15" y="45"/>
                    <a:pt x="14" y="45"/>
                  </a:cubicBezTo>
                  <a:cubicBezTo>
                    <a:pt x="13" y="45"/>
                    <a:pt x="13" y="43"/>
                    <a:pt x="12" y="42"/>
                  </a:cubicBezTo>
                  <a:cubicBezTo>
                    <a:pt x="12" y="39"/>
                    <a:pt x="12" y="34"/>
                    <a:pt x="12" y="28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3" y="34"/>
                    <a:pt x="33" y="39"/>
                    <a:pt x="32" y="41"/>
                  </a:cubicBezTo>
                  <a:cubicBezTo>
                    <a:pt x="32" y="43"/>
                    <a:pt x="32" y="45"/>
                    <a:pt x="31" y="45"/>
                  </a:cubicBezTo>
                  <a:cubicBezTo>
                    <a:pt x="31" y="45"/>
                    <a:pt x="30" y="45"/>
                    <a:pt x="29" y="45"/>
                  </a:cubicBezTo>
                  <a:cubicBezTo>
                    <a:pt x="28" y="45"/>
                    <a:pt x="28" y="45"/>
                    <a:pt x="28" y="46"/>
                  </a:cubicBezTo>
                  <a:cubicBezTo>
                    <a:pt x="28" y="46"/>
                    <a:pt x="29" y="46"/>
                    <a:pt x="29" y="46"/>
                  </a:cubicBezTo>
                  <a:cubicBezTo>
                    <a:pt x="31" y="46"/>
                    <a:pt x="35" y="46"/>
                    <a:pt x="36" y="46"/>
                  </a:cubicBezTo>
                  <a:cubicBezTo>
                    <a:pt x="37" y="46"/>
                    <a:pt x="41" y="46"/>
                    <a:pt x="44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5"/>
                    <a:pt x="45" y="45"/>
                    <a:pt x="44" y="45"/>
                  </a:cubicBezTo>
                  <a:cubicBezTo>
                    <a:pt x="44" y="45"/>
                    <a:pt x="42" y="45"/>
                    <a:pt x="42" y="45"/>
                  </a:cubicBezTo>
                  <a:cubicBezTo>
                    <a:pt x="40" y="45"/>
                    <a:pt x="40" y="43"/>
                    <a:pt x="40" y="42"/>
                  </a:cubicBezTo>
                  <a:cubicBezTo>
                    <a:pt x="39" y="39"/>
                    <a:pt x="39" y="34"/>
                    <a:pt x="39" y="28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8"/>
                    <a:pt x="39" y="6"/>
                    <a:pt x="39" y="4"/>
                  </a:cubicBezTo>
                  <a:cubicBezTo>
                    <a:pt x="40" y="2"/>
                    <a:pt x="40" y="1"/>
                    <a:pt x="41" y="1"/>
                  </a:cubicBezTo>
                  <a:cubicBezTo>
                    <a:pt x="42" y="1"/>
                    <a:pt x="42" y="1"/>
                    <a:pt x="43" y="1"/>
                  </a:cubicBezTo>
                  <a:cubicBezTo>
                    <a:pt x="44" y="1"/>
                    <a:pt x="44" y="1"/>
                    <a:pt x="44" y="0"/>
                  </a:cubicBezTo>
                  <a:cubicBezTo>
                    <a:pt x="44" y="0"/>
                    <a:pt x="43" y="0"/>
                    <a:pt x="43" y="0"/>
                  </a:cubicBezTo>
                  <a:cubicBezTo>
                    <a:pt x="41" y="0"/>
                    <a:pt x="37" y="0"/>
                    <a:pt x="36" y="0"/>
                  </a:cubicBezTo>
                  <a:cubicBezTo>
                    <a:pt x="35" y="0"/>
                    <a:pt x="31" y="0"/>
                    <a:pt x="29" y="0"/>
                  </a:cubicBezTo>
                  <a:cubicBezTo>
                    <a:pt x="28" y="0"/>
                    <a:pt x="27" y="0"/>
                    <a:pt x="27" y="0"/>
                  </a:cubicBezTo>
                  <a:cubicBezTo>
                    <a:pt x="27" y="1"/>
                    <a:pt x="28" y="1"/>
                    <a:pt x="28" y="1"/>
                  </a:cubicBezTo>
                  <a:cubicBezTo>
                    <a:pt x="29" y="1"/>
                    <a:pt x="30" y="1"/>
                    <a:pt x="30" y="1"/>
                  </a:cubicBezTo>
                  <a:cubicBezTo>
                    <a:pt x="32" y="1"/>
                    <a:pt x="33" y="2"/>
                    <a:pt x="33" y="4"/>
                  </a:cubicBezTo>
                  <a:cubicBezTo>
                    <a:pt x="33" y="6"/>
                    <a:pt x="33" y="8"/>
                    <a:pt x="33" y="17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19"/>
                    <a:pt x="33" y="19"/>
                    <a:pt x="32" y="19"/>
                  </a:cubicBezTo>
                  <a:lnTo>
                    <a:pt x="12" y="19"/>
                  </a:lnTo>
                  <a:close/>
                </a:path>
              </a:pathLst>
            </a:custGeom>
            <a:solidFill>
              <a:srgbClr val="1B18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87" name="Freeform 337"/>
            <p:cNvSpPr>
              <a:spLocks noEditPoints="1"/>
            </p:cNvSpPr>
            <p:nvPr/>
          </p:nvSpPr>
          <p:spPr bwMode="gray">
            <a:xfrm>
              <a:off x="3233738" y="-568325"/>
              <a:ext cx="160338" cy="179387"/>
            </a:xfrm>
            <a:custGeom>
              <a:avLst/>
              <a:gdLst>
                <a:gd name="T0" fmla="*/ 22 w 43"/>
                <a:gd name="T1" fmla="*/ 48 h 48"/>
                <a:gd name="T2" fmla="*/ 43 w 43"/>
                <a:gd name="T3" fmla="*/ 23 h 48"/>
                <a:gd name="T4" fmla="*/ 22 w 43"/>
                <a:gd name="T5" fmla="*/ 0 h 48"/>
                <a:gd name="T6" fmla="*/ 0 w 43"/>
                <a:gd name="T7" fmla="*/ 24 h 48"/>
                <a:gd name="T8" fmla="*/ 22 w 43"/>
                <a:gd name="T9" fmla="*/ 48 h 48"/>
                <a:gd name="T10" fmla="*/ 24 w 43"/>
                <a:gd name="T11" fmla="*/ 45 h 48"/>
                <a:gd name="T12" fmla="*/ 8 w 43"/>
                <a:gd name="T13" fmla="*/ 22 h 48"/>
                <a:gd name="T14" fmla="*/ 21 w 43"/>
                <a:gd name="T15" fmla="*/ 3 h 48"/>
                <a:gd name="T16" fmla="*/ 36 w 43"/>
                <a:gd name="T17" fmla="*/ 25 h 48"/>
                <a:gd name="T18" fmla="*/ 24 w 43"/>
                <a:gd name="T19" fmla="*/ 4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8">
                  <a:moveTo>
                    <a:pt x="22" y="48"/>
                  </a:moveTo>
                  <a:cubicBezTo>
                    <a:pt x="35" y="48"/>
                    <a:pt x="43" y="37"/>
                    <a:pt x="43" y="23"/>
                  </a:cubicBezTo>
                  <a:cubicBezTo>
                    <a:pt x="43" y="9"/>
                    <a:pt x="35" y="0"/>
                    <a:pt x="22" y="0"/>
                  </a:cubicBezTo>
                  <a:cubicBezTo>
                    <a:pt x="6" y="0"/>
                    <a:pt x="0" y="13"/>
                    <a:pt x="0" y="24"/>
                  </a:cubicBezTo>
                  <a:cubicBezTo>
                    <a:pt x="0" y="35"/>
                    <a:pt x="7" y="48"/>
                    <a:pt x="22" y="48"/>
                  </a:cubicBezTo>
                  <a:moveTo>
                    <a:pt x="24" y="45"/>
                  </a:moveTo>
                  <a:cubicBezTo>
                    <a:pt x="14" y="45"/>
                    <a:pt x="8" y="35"/>
                    <a:pt x="8" y="22"/>
                  </a:cubicBezTo>
                  <a:cubicBezTo>
                    <a:pt x="8" y="7"/>
                    <a:pt x="15" y="3"/>
                    <a:pt x="21" y="3"/>
                  </a:cubicBezTo>
                  <a:cubicBezTo>
                    <a:pt x="29" y="3"/>
                    <a:pt x="36" y="11"/>
                    <a:pt x="36" y="25"/>
                  </a:cubicBezTo>
                  <a:cubicBezTo>
                    <a:pt x="36" y="43"/>
                    <a:pt x="27" y="45"/>
                    <a:pt x="24" y="45"/>
                  </a:cubicBezTo>
                </a:path>
              </a:pathLst>
            </a:custGeom>
            <a:solidFill>
              <a:srgbClr val="1B18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88" name="Freeform 338"/>
            <p:cNvSpPr>
              <a:spLocks noEditPoints="1"/>
            </p:cNvSpPr>
            <p:nvPr/>
          </p:nvSpPr>
          <p:spPr bwMode="gray">
            <a:xfrm>
              <a:off x="3427413" y="-568325"/>
              <a:ext cx="158750" cy="179387"/>
            </a:xfrm>
            <a:custGeom>
              <a:avLst/>
              <a:gdLst>
                <a:gd name="T0" fmla="*/ 21 w 42"/>
                <a:gd name="T1" fmla="*/ 48 h 48"/>
                <a:gd name="T2" fmla="*/ 42 w 42"/>
                <a:gd name="T3" fmla="*/ 23 h 48"/>
                <a:gd name="T4" fmla="*/ 21 w 42"/>
                <a:gd name="T5" fmla="*/ 0 h 48"/>
                <a:gd name="T6" fmla="*/ 0 w 42"/>
                <a:gd name="T7" fmla="*/ 24 h 48"/>
                <a:gd name="T8" fmla="*/ 21 w 42"/>
                <a:gd name="T9" fmla="*/ 48 h 48"/>
                <a:gd name="T10" fmla="*/ 23 w 42"/>
                <a:gd name="T11" fmla="*/ 45 h 48"/>
                <a:gd name="T12" fmla="*/ 7 w 42"/>
                <a:gd name="T13" fmla="*/ 22 h 48"/>
                <a:gd name="T14" fmla="*/ 20 w 42"/>
                <a:gd name="T15" fmla="*/ 3 h 48"/>
                <a:gd name="T16" fmla="*/ 35 w 42"/>
                <a:gd name="T17" fmla="*/ 25 h 48"/>
                <a:gd name="T18" fmla="*/ 23 w 42"/>
                <a:gd name="T19" fmla="*/ 4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8">
                  <a:moveTo>
                    <a:pt x="21" y="48"/>
                  </a:moveTo>
                  <a:cubicBezTo>
                    <a:pt x="34" y="48"/>
                    <a:pt x="42" y="37"/>
                    <a:pt x="42" y="23"/>
                  </a:cubicBezTo>
                  <a:cubicBezTo>
                    <a:pt x="42" y="9"/>
                    <a:pt x="34" y="0"/>
                    <a:pt x="21" y="0"/>
                  </a:cubicBezTo>
                  <a:cubicBezTo>
                    <a:pt x="6" y="0"/>
                    <a:pt x="0" y="13"/>
                    <a:pt x="0" y="24"/>
                  </a:cubicBezTo>
                  <a:cubicBezTo>
                    <a:pt x="0" y="35"/>
                    <a:pt x="6" y="48"/>
                    <a:pt x="21" y="48"/>
                  </a:cubicBezTo>
                  <a:moveTo>
                    <a:pt x="23" y="45"/>
                  </a:moveTo>
                  <a:cubicBezTo>
                    <a:pt x="13" y="45"/>
                    <a:pt x="7" y="35"/>
                    <a:pt x="7" y="22"/>
                  </a:cubicBezTo>
                  <a:cubicBezTo>
                    <a:pt x="7" y="7"/>
                    <a:pt x="14" y="3"/>
                    <a:pt x="20" y="3"/>
                  </a:cubicBezTo>
                  <a:cubicBezTo>
                    <a:pt x="28" y="3"/>
                    <a:pt x="35" y="11"/>
                    <a:pt x="35" y="25"/>
                  </a:cubicBezTo>
                  <a:cubicBezTo>
                    <a:pt x="35" y="43"/>
                    <a:pt x="27" y="45"/>
                    <a:pt x="23" y="45"/>
                  </a:cubicBezTo>
                </a:path>
              </a:pathLst>
            </a:custGeom>
            <a:solidFill>
              <a:srgbClr val="1B18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89" name="Freeform 339"/>
            <p:cNvSpPr>
              <a:spLocks/>
            </p:cNvSpPr>
            <p:nvPr/>
          </p:nvSpPr>
          <p:spPr bwMode="gray">
            <a:xfrm>
              <a:off x="3622675" y="-565150"/>
              <a:ext cx="101600" cy="173037"/>
            </a:xfrm>
            <a:custGeom>
              <a:avLst/>
              <a:gdLst>
                <a:gd name="T0" fmla="*/ 11 w 27"/>
                <a:gd name="T1" fmla="*/ 17 h 46"/>
                <a:gd name="T2" fmla="*/ 11 w 27"/>
                <a:gd name="T3" fmla="*/ 4 h 46"/>
                <a:gd name="T4" fmla="*/ 13 w 27"/>
                <a:gd name="T5" fmla="*/ 1 h 46"/>
                <a:gd name="T6" fmla="*/ 15 w 27"/>
                <a:gd name="T7" fmla="*/ 1 h 46"/>
                <a:gd name="T8" fmla="*/ 16 w 27"/>
                <a:gd name="T9" fmla="*/ 0 h 46"/>
                <a:gd name="T10" fmla="*/ 15 w 27"/>
                <a:gd name="T11" fmla="*/ 0 h 46"/>
                <a:gd name="T12" fmla="*/ 8 w 27"/>
                <a:gd name="T13" fmla="*/ 0 h 46"/>
                <a:gd name="T14" fmla="*/ 1 w 27"/>
                <a:gd name="T15" fmla="*/ 0 h 46"/>
                <a:gd name="T16" fmla="*/ 0 w 27"/>
                <a:gd name="T17" fmla="*/ 0 h 46"/>
                <a:gd name="T18" fmla="*/ 0 w 27"/>
                <a:gd name="T19" fmla="*/ 1 h 46"/>
                <a:gd name="T20" fmla="*/ 2 w 27"/>
                <a:gd name="T21" fmla="*/ 1 h 46"/>
                <a:gd name="T22" fmla="*/ 4 w 27"/>
                <a:gd name="T23" fmla="*/ 4 h 46"/>
                <a:gd name="T24" fmla="*/ 5 w 27"/>
                <a:gd name="T25" fmla="*/ 17 h 46"/>
                <a:gd name="T26" fmla="*/ 5 w 27"/>
                <a:gd name="T27" fmla="*/ 28 h 46"/>
                <a:gd name="T28" fmla="*/ 4 w 27"/>
                <a:gd name="T29" fmla="*/ 41 h 46"/>
                <a:gd name="T30" fmla="*/ 3 w 27"/>
                <a:gd name="T31" fmla="*/ 45 h 46"/>
                <a:gd name="T32" fmla="*/ 1 w 27"/>
                <a:gd name="T33" fmla="*/ 45 h 46"/>
                <a:gd name="T34" fmla="*/ 0 w 27"/>
                <a:gd name="T35" fmla="*/ 46 h 46"/>
                <a:gd name="T36" fmla="*/ 1 w 27"/>
                <a:gd name="T37" fmla="*/ 46 h 46"/>
                <a:gd name="T38" fmla="*/ 8 w 27"/>
                <a:gd name="T39" fmla="*/ 46 h 46"/>
                <a:gd name="T40" fmla="*/ 23 w 27"/>
                <a:gd name="T41" fmla="*/ 46 h 46"/>
                <a:gd name="T42" fmla="*/ 26 w 27"/>
                <a:gd name="T43" fmla="*/ 45 h 46"/>
                <a:gd name="T44" fmla="*/ 27 w 27"/>
                <a:gd name="T45" fmla="*/ 38 h 46"/>
                <a:gd name="T46" fmla="*/ 27 w 27"/>
                <a:gd name="T47" fmla="*/ 37 h 46"/>
                <a:gd name="T48" fmla="*/ 26 w 27"/>
                <a:gd name="T49" fmla="*/ 38 h 46"/>
                <a:gd name="T50" fmla="*/ 25 w 27"/>
                <a:gd name="T51" fmla="*/ 41 h 46"/>
                <a:gd name="T52" fmla="*/ 19 w 27"/>
                <a:gd name="T53" fmla="*/ 43 h 46"/>
                <a:gd name="T54" fmla="*/ 12 w 27"/>
                <a:gd name="T55" fmla="*/ 42 h 46"/>
                <a:gd name="T56" fmla="*/ 11 w 27"/>
                <a:gd name="T57" fmla="*/ 28 h 46"/>
                <a:gd name="T58" fmla="*/ 11 w 27"/>
                <a:gd name="T59" fmla="*/ 17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7" h="46">
                  <a:moveTo>
                    <a:pt x="11" y="17"/>
                  </a:moveTo>
                  <a:cubicBezTo>
                    <a:pt x="11" y="8"/>
                    <a:pt x="11" y="6"/>
                    <a:pt x="11" y="4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4" y="1"/>
                    <a:pt x="15" y="1"/>
                    <a:pt x="15" y="1"/>
                  </a:cubicBezTo>
                  <a:cubicBezTo>
                    <a:pt x="16" y="1"/>
                    <a:pt x="16" y="1"/>
                    <a:pt x="16" y="0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3" y="0"/>
                    <a:pt x="9" y="0"/>
                    <a:pt x="8" y="0"/>
                  </a:cubicBezTo>
                  <a:cubicBezTo>
                    <a:pt x="7" y="0"/>
                    <a:pt x="3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4" y="1"/>
                    <a:pt x="4" y="2"/>
                    <a:pt x="4" y="4"/>
                  </a:cubicBezTo>
                  <a:cubicBezTo>
                    <a:pt x="5" y="6"/>
                    <a:pt x="5" y="8"/>
                    <a:pt x="5" y="17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5" y="34"/>
                    <a:pt x="5" y="39"/>
                    <a:pt x="4" y="41"/>
                  </a:cubicBezTo>
                  <a:cubicBezTo>
                    <a:pt x="4" y="43"/>
                    <a:pt x="4" y="45"/>
                    <a:pt x="3" y="45"/>
                  </a:cubicBezTo>
                  <a:cubicBezTo>
                    <a:pt x="2" y="45"/>
                    <a:pt x="2" y="45"/>
                    <a:pt x="1" y="45"/>
                  </a:cubicBezTo>
                  <a:cubicBezTo>
                    <a:pt x="0" y="45"/>
                    <a:pt x="0" y="45"/>
                    <a:pt x="0" y="46"/>
                  </a:cubicBezTo>
                  <a:cubicBezTo>
                    <a:pt x="0" y="46"/>
                    <a:pt x="0" y="46"/>
                    <a:pt x="1" y="46"/>
                  </a:cubicBezTo>
                  <a:cubicBezTo>
                    <a:pt x="3" y="46"/>
                    <a:pt x="7" y="46"/>
                    <a:pt x="8" y="46"/>
                  </a:cubicBezTo>
                  <a:cubicBezTo>
                    <a:pt x="12" y="46"/>
                    <a:pt x="15" y="46"/>
                    <a:pt x="23" y="46"/>
                  </a:cubicBezTo>
                  <a:cubicBezTo>
                    <a:pt x="26" y="46"/>
                    <a:pt x="26" y="46"/>
                    <a:pt x="26" y="45"/>
                  </a:cubicBezTo>
                  <a:cubicBezTo>
                    <a:pt x="27" y="43"/>
                    <a:pt x="27" y="38"/>
                    <a:pt x="27" y="38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6" y="37"/>
                    <a:pt x="26" y="37"/>
                    <a:pt x="26" y="38"/>
                  </a:cubicBezTo>
                  <a:cubicBezTo>
                    <a:pt x="26" y="39"/>
                    <a:pt x="25" y="40"/>
                    <a:pt x="25" y="41"/>
                  </a:cubicBezTo>
                  <a:cubicBezTo>
                    <a:pt x="23" y="43"/>
                    <a:pt x="21" y="43"/>
                    <a:pt x="19" y="43"/>
                  </a:cubicBezTo>
                  <a:cubicBezTo>
                    <a:pt x="14" y="43"/>
                    <a:pt x="13" y="43"/>
                    <a:pt x="12" y="42"/>
                  </a:cubicBezTo>
                  <a:cubicBezTo>
                    <a:pt x="11" y="41"/>
                    <a:pt x="11" y="36"/>
                    <a:pt x="11" y="28"/>
                  </a:cubicBezTo>
                  <a:lnTo>
                    <a:pt x="11" y="17"/>
                  </a:lnTo>
                  <a:close/>
                </a:path>
              </a:pathLst>
            </a:custGeom>
            <a:solidFill>
              <a:srgbClr val="1B18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75737" y="512763"/>
            <a:ext cx="7488767" cy="72659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5733" y="1511300"/>
            <a:ext cx="11224352" cy="4546599"/>
          </a:xfrm>
          <a:prstGeom prst="rect">
            <a:avLst/>
          </a:prstGeom>
        </p:spPr>
        <p:txBody>
          <a:bodyPr vert="horz" lIns="0" tIns="0" rIns="21600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9951471" y="6385900"/>
            <a:ext cx="1560668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>
              <a:defRPr/>
            </a:pPr>
            <a:r>
              <a:rPr lang="de-DE">
                <a:solidFill>
                  <a:prstClr val="black">
                    <a:tint val="75000"/>
                  </a:prstClr>
                </a:solidFill>
              </a:rPr>
              <a:t>21/06/202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5903385" y="6385900"/>
            <a:ext cx="3974000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Investment Proposal Pitch By ChemWealth Partners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512221" y="6385900"/>
            <a:ext cx="28786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8D8DDEA4-1D91-494B-B76F-22F3D7C841E7}" type="slidenum">
              <a:rPr lang="de-DE" smtClean="0">
                <a:solidFill>
                  <a:srgbClr val="5186AA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5186AA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29025" y="6453128"/>
            <a:ext cx="1214779" cy="235332"/>
          </a:xfrm>
          <a:prstGeom prst="rect">
            <a:avLst/>
          </a:prstGeom>
        </p:spPr>
      </p:pic>
      <p:grpSp>
        <p:nvGrpSpPr>
          <p:cNvPr id="210" name="Group 209"/>
          <p:cNvGrpSpPr/>
          <p:nvPr/>
        </p:nvGrpSpPr>
        <p:grpSpPr bwMode="gray">
          <a:xfrm>
            <a:off x="500574" y="-177900"/>
            <a:ext cx="11374689" cy="108000"/>
            <a:chOff x="375428" y="-177900"/>
            <a:chExt cx="8531017" cy="108000"/>
          </a:xfrm>
        </p:grpSpPr>
        <p:sp>
          <p:nvSpPr>
            <p:cNvPr id="192" name="Isosceles Triangle 191"/>
            <p:cNvSpPr/>
            <p:nvPr userDrawn="1"/>
          </p:nvSpPr>
          <p:spPr bwMode="gray">
            <a:xfrm flipV="1">
              <a:off x="375428" y="-17790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93" name="Isosceles Triangle 192"/>
            <p:cNvSpPr/>
            <p:nvPr userDrawn="1"/>
          </p:nvSpPr>
          <p:spPr bwMode="gray">
            <a:xfrm flipV="1">
              <a:off x="2969441" y="-17790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94" name="Isosceles Triangle 193"/>
            <p:cNvSpPr/>
            <p:nvPr userDrawn="1"/>
          </p:nvSpPr>
          <p:spPr bwMode="gray">
            <a:xfrm flipV="1">
              <a:off x="3186134" y="-17790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95" name="Isosceles Triangle 194"/>
            <p:cNvSpPr/>
            <p:nvPr userDrawn="1"/>
          </p:nvSpPr>
          <p:spPr bwMode="gray">
            <a:xfrm flipV="1">
              <a:off x="4369211" y="-17790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96" name="Isosceles Triangle 195"/>
            <p:cNvSpPr/>
            <p:nvPr userDrawn="1"/>
          </p:nvSpPr>
          <p:spPr bwMode="gray">
            <a:xfrm flipV="1">
              <a:off x="4588286" y="-17790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97" name="Isosceles Triangle 196"/>
            <p:cNvSpPr/>
            <p:nvPr userDrawn="1"/>
          </p:nvSpPr>
          <p:spPr bwMode="gray">
            <a:xfrm flipV="1">
              <a:off x="5777088" y="-17790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98" name="Isosceles Triangle 197"/>
            <p:cNvSpPr/>
            <p:nvPr userDrawn="1"/>
          </p:nvSpPr>
          <p:spPr bwMode="gray">
            <a:xfrm flipV="1">
              <a:off x="5992988" y="-17790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00" name="Isosceles Triangle 199"/>
            <p:cNvSpPr/>
            <p:nvPr userDrawn="1"/>
          </p:nvSpPr>
          <p:spPr bwMode="gray">
            <a:xfrm flipV="1">
              <a:off x="8798445" y="-17790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52" name="Isosceles Triangle 251"/>
            <p:cNvSpPr/>
            <p:nvPr userDrawn="1"/>
          </p:nvSpPr>
          <p:spPr bwMode="gray">
            <a:xfrm flipV="1">
              <a:off x="8584133" y="-17790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90" name="Isosceles Triangle 191"/>
            <p:cNvSpPr/>
            <p:nvPr userDrawn="1"/>
          </p:nvSpPr>
          <p:spPr bwMode="gray">
            <a:xfrm flipV="1">
              <a:off x="630213" y="-17790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</p:grpSp>
      <p:grpSp>
        <p:nvGrpSpPr>
          <p:cNvPr id="237" name="Group 236"/>
          <p:cNvGrpSpPr/>
          <p:nvPr/>
        </p:nvGrpSpPr>
        <p:grpSpPr bwMode="gray">
          <a:xfrm>
            <a:off x="12240683" y="1249338"/>
            <a:ext cx="144000" cy="5078462"/>
            <a:chOff x="9180512" y="1249338"/>
            <a:chExt cx="108000" cy="5078462"/>
          </a:xfrm>
        </p:grpSpPr>
        <p:sp>
          <p:nvSpPr>
            <p:cNvPr id="229" name="Isosceles Triangle 228"/>
            <p:cNvSpPr/>
            <p:nvPr userDrawn="1"/>
          </p:nvSpPr>
          <p:spPr bwMode="gray">
            <a:xfrm rot="5400000" flipV="1">
              <a:off x="9180512" y="1249338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30" name="Isosceles Triangle 229"/>
            <p:cNvSpPr/>
            <p:nvPr userDrawn="1"/>
          </p:nvSpPr>
          <p:spPr bwMode="gray">
            <a:xfrm rot="5400000" flipV="1">
              <a:off x="9180512" y="146365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31" name="Isosceles Triangle 230"/>
            <p:cNvSpPr/>
            <p:nvPr userDrawn="1"/>
          </p:nvSpPr>
          <p:spPr bwMode="gray">
            <a:xfrm rot="5400000" flipV="1">
              <a:off x="9180512" y="2834457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32" name="Isosceles Triangle 231"/>
            <p:cNvSpPr/>
            <p:nvPr userDrawn="1"/>
          </p:nvSpPr>
          <p:spPr bwMode="gray">
            <a:xfrm rot="5400000" flipV="1">
              <a:off x="9180512" y="3048769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33" name="Isosceles Triangle 232"/>
            <p:cNvSpPr/>
            <p:nvPr userDrawn="1"/>
          </p:nvSpPr>
          <p:spPr bwMode="gray">
            <a:xfrm rot="5400000" flipV="1">
              <a:off x="9180512" y="441799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34" name="Isosceles Triangle 233"/>
            <p:cNvSpPr/>
            <p:nvPr userDrawn="1"/>
          </p:nvSpPr>
          <p:spPr bwMode="gray">
            <a:xfrm rot="5400000" flipV="1">
              <a:off x="9180512" y="4632302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35" name="Isosceles Triangle 234"/>
            <p:cNvSpPr/>
            <p:nvPr userDrawn="1"/>
          </p:nvSpPr>
          <p:spPr bwMode="gray">
            <a:xfrm rot="5400000" flipV="1">
              <a:off x="9180512" y="600390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36" name="Isosceles Triangle 235"/>
            <p:cNvSpPr/>
            <p:nvPr userDrawn="1"/>
          </p:nvSpPr>
          <p:spPr bwMode="gray">
            <a:xfrm rot="5400000" flipV="1">
              <a:off x="9180512" y="621980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</p:grpSp>
      <p:grpSp>
        <p:nvGrpSpPr>
          <p:cNvPr id="238" name="Group 237"/>
          <p:cNvGrpSpPr/>
          <p:nvPr/>
        </p:nvGrpSpPr>
        <p:grpSpPr bwMode="gray">
          <a:xfrm flipH="1">
            <a:off x="-224232" y="1249338"/>
            <a:ext cx="144000" cy="5078462"/>
            <a:chOff x="9180512" y="1249338"/>
            <a:chExt cx="108000" cy="5078462"/>
          </a:xfrm>
        </p:grpSpPr>
        <p:sp>
          <p:nvSpPr>
            <p:cNvPr id="239" name="Isosceles Triangle 238"/>
            <p:cNvSpPr/>
            <p:nvPr userDrawn="1"/>
          </p:nvSpPr>
          <p:spPr bwMode="gray">
            <a:xfrm rot="5400000" flipV="1">
              <a:off x="9180512" y="1249338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40" name="Isosceles Triangle 239"/>
            <p:cNvSpPr/>
            <p:nvPr userDrawn="1"/>
          </p:nvSpPr>
          <p:spPr bwMode="gray">
            <a:xfrm rot="5400000" flipV="1">
              <a:off x="9180512" y="146365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41" name="Isosceles Triangle 240"/>
            <p:cNvSpPr/>
            <p:nvPr userDrawn="1"/>
          </p:nvSpPr>
          <p:spPr bwMode="gray">
            <a:xfrm rot="5400000" flipV="1">
              <a:off x="9180512" y="2834457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42" name="Isosceles Triangle 241"/>
            <p:cNvSpPr/>
            <p:nvPr userDrawn="1"/>
          </p:nvSpPr>
          <p:spPr bwMode="gray">
            <a:xfrm rot="5400000" flipV="1">
              <a:off x="9180512" y="3048769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43" name="Isosceles Triangle 242"/>
            <p:cNvSpPr/>
            <p:nvPr userDrawn="1"/>
          </p:nvSpPr>
          <p:spPr bwMode="gray">
            <a:xfrm rot="5400000" flipV="1">
              <a:off x="9180512" y="441799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44" name="Isosceles Triangle 243"/>
            <p:cNvSpPr/>
            <p:nvPr userDrawn="1"/>
          </p:nvSpPr>
          <p:spPr bwMode="gray">
            <a:xfrm rot="5400000" flipV="1">
              <a:off x="9180512" y="4632302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45" name="Isosceles Triangle 244"/>
            <p:cNvSpPr/>
            <p:nvPr userDrawn="1"/>
          </p:nvSpPr>
          <p:spPr bwMode="gray">
            <a:xfrm rot="5400000" flipV="1">
              <a:off x="9180512" y="600390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46" name="Isosceles Triangle 245"/>
            <p:cNvSpPr/>
            <p:nvPr userDrawn="1"/>
          </p:nvSpPr>
          <p:spPr bwMode="gray">
            <a:xfrm rot="5400000" flipV="1">
              <a:off x="9180512" y="621980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</p:grpSp>
      <p:sp>
        <p:nvSpPr>
          <p:cNvPr id="277" name="Rechteck 57"/>
          <p:cNvSpPr/>
          <p:nvPr/>
        </p:nvSpPr>
        <p:spPr bwMode="gray">
          <a:xfrm rot="5400000">
            <a:off x="-2447519" y="3752926"/>
            <a:ext cx="4968000" cy="72000"/>
          </a:xfrm>
          <a:prstGeom prst="rect">
            <a:avLst/>
          </a:prstGeom>
          <a:solidFill>
            <a:srgbClr val="B1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grpSp>
        <p:nvGrpSpPr>
          <p:cNvPr id="253" name="Group 252"/>
          <p:cNvGrpSpPr/>
          <p:nvPr/>
        </p:nvGrpSpPr>
        <p:grpSpPr bwMode="gray">
          <a:xfrm flipV="1">
            <a:off x="500574" y="6931992"/>
            <a:ext cx="11374689" cy="108000"/>
            <a:chOff x="375428" y="-177900"/>
            <a:chExt cx="8531017" cy="108000"/>
          </a:xfrm>
        </p:grpSpPr>
        <p:sp>
          <p:nvSpPr>
            <p:cNvPr id="254" name="Isosceles Triangle 253"/>
            <p:cNvSpPr/>
            <p:nvPr userDrawn="1"/>
          </p:nvSpPr>
          <p:spPr bwMode="gray">
            <a:xfrm flipV="1">
              <a:off x="375428" y="-17790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55" name="Isosceles Triangle 254"/>
            <p:cNvSpPr/>
            <p:nvPr userDrawn="1"/>
          </p:nvSpPr>
          <p:spPr bwMode="gray">
            <a:xfrm flipV="1">
              <a:off x="2969441" y="-17790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56" name="Isosceles Triangle 255"/>
            <p:cNvSpPr/>
            <p:nvPr userDrawn="1"/>
          </p:nvSpPr>
          <p:spPr bwMode="gray">
            <a:xfrm flipV="1">
              <a:off x="3186134" y="-17790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57" name="Isosceles Triangle 256"/>
            <p:cNvSpPr/>
            <p:nvPr userDrawn="1"/>
          </p:nvSpPr>
          <p:spPr bwMode="gray">
            <a:xfrm flipV="1">
              <a:off x="4369211" y="-17790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58" name="Isosceles Triangle 257"/>
            <p:cNvSpPr/>
            <p:nvPr userDrawn="1"/>
          </p:nvSpPr>
          <p:spPr bwMode="gray">
            <a:xfrm flipV="1">
              <a:off x="4588286" y="-17790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59" name="Isosceles Triangle 258"/>
            <p:cNvSpPr/>
            <p:nvPr userDrawn="1"/>
          </p:nvSpPr>
          <p:spPr bwMode="gray">
            <a:xfrm flipV="1">
              <a:off x="5777088" y="-17790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60" name="Isosceles Triangle 259"/>
            <p:cNvSpPr/>
            <p:nvPr userDrawn="1"/>
          </p:nvSpPr>
          <p:spPr bwMode="gray">
            <a:xfrm flipV="1">
              <a:off x="5992988" y="-17790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61" name="Isosceles Triangle 260"/>
            <p:cNvSpPr/>
            <p:nvPr userDrawn="1"/>
          </p:nvSpPr>
          <p:spPr bwMode="gray">
            <a:xfrm flipV="1">
              <a:off x="8798445" y="-17790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62" name="Isosceles Triangle 261"/>
            <p:cNvSpPr/>
            <p:nvPr userDrawn="1"/>
          </p:nvSpPr>
          <p:spPr bwMode="gray">
            <a:xfrm flipV="1">
              <a:off x="8584133" y="-17790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91" name="Isosceles Triangle 253"/>
            <p:cNvSpPr/>
            <p:nvPr userDrawn="1"/>
          </p:nvSpPr>
          <p:spPr bwMode="gray">
            <a:xfrm flipV="1">
              <a:off x="630213" y="-177900"/>
              <a:ext cx="108000" cy="10800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</p:grpSp>
      <p:pic>
        <p:nvPicPr>
          <p:cNvPr id="247" name="Grafik 24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873613" y="6492155"/>
            <a:ext cx="694803" cy="157278"/>
          </a:xfrm>
          <a:prstGeom prst="rect">
            <a:avLst/>
          </a:prstGeom>
        </p:spPr>
      </p:pic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92623" y="6442994"/>
            <a:ext cx="244503" cy="255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D9D9686F-61C7-494B-96FE-A82E9E532B3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6436" y="6446594"/>
            <a:ext cx="491293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615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</p:sldLayoutIdLst>
  <p:hf hdr="0"/>
  <p:txStyles>
    <p:titleStyle>
      <a:lvl1pPr algn="l" defTabSz="914377" rtl="0" eaLnBrk="1" latinLnBrk="0" hangingPunct="1">
        <a:lnSpc>
          <a:spcPct val="80000"/>
        </a:lnSpc>
        <a:spcBef>
          <a:spcPct val="0"/>
        </a:spcBef>
        <a:buNone/>
        <a:defRPr sz="24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spcBef>
          <a:spcPts val="200"/>
        </a:spcBef>
        <a:spcAft>
          <a:spcPts val="4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7" rtl="0" eaLnBrk="1" latinLnBrk="0" hangingPunct="1">
        <a:spcBef>
          <a:spcPts val="200"/>
        </a:spcBef>
        <a:spcAft>
          <a:spcPts val="400"/>
        </a:spcAft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179996" indent="-179996" algn="l" defTabSz="914377" rtl="0" eaLnBrk="1" latinLnBrk="0" hangingPunct="1">
        <a:spcBef>
          <a:spcPts val="200"/>
        </a:spcBef>
        <a:spcAft>
          <a:spcPts val="400"/>
        </a:spcAft>
        <a:buClr>
          <a:schemeClr val="bg2"/>
        </a:buClr>
        <a:buSzPct val="12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59991" indent="-179996" algn="l" defTabSz="914377" rtl="0" eaLnBrk="1" latinLnBrk="0" hangingPunct="1">
        <a:spcBef>
          <a:spcPts val="200"/>
        </a:spcBef>
        <a:spcAft>
          <a:spcPts val="400"/>
        </a:spcAft>
        <a:buClr>
          <a:schemeClr val="bg2"/>
        </a:buClr>
        <a:buSzPct val="120000"/>
        <a:buFont typeface="Arial Narrow" panose="020B060602020203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39987" indent="-179996" algn="l" defTabSz="914377" rtl="0" eaLnBrk="1" latinLnBrk="0" hangingPunct="1">
        <a:spcBef>
          <a:spcPts val="200"/>
        </a:spcBef>
        <a:spcAft>
          <a:spcPts val="400"/>
        </a:spcAft>
        <a:buClr>
          <a:schemeClr val="bg2"/>
        </a:buClr>
        <a:buSzPct val="120000"/>
        <a:buFont typeface="Arial Narrow" panose="020B060602020203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79996" indent="-179996" algn="l" defTabSz="914377" rtl="0" eaLnBrk="1" latinLnBrk="0" hangingPunct="1">
        <a:spcBef>
          <a:spcPts val="200"/>
        </a:spcBef>
        <a:spcAft>
          <a:spcPts val="400"/>
        </a:spcAft>
        <a:buClr>
          <a:schemeClr val="bg2"/>
        </a:buClr>
        <a:buFont typeface="+mj-lt"/>
        <a:buAutoNum type="arabicPeriod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spcBef>
          <a:spcPts val="200"/>
        </a:spcBef>
        <a:spcAft>
          <a:spcPts val="400"/>
        </a:spcAft>
        <a:buFont typeface="Arial" panose="020B0604020202020204" pitchFamily="34" charset="0"/>
        <a:buNone/>
        <a:defRPr sz="1600" b="1" kern="1200">
          <a:solidFill>
            <a:schemeClr val="bg2"/>
          </a:solidFill>
          <a:latin typeface="+mn-lt"/>
          <a:ea typeface="+mn-ea"/>
          <a:cs typeface="+mn-cs"/>
        </a:defRPr>
      </a:lvl7pPr>
      <a:lvl8pPr marL="0" indent="0" algn="l" defTabSz="914377" rtl="0" eaLnBrk="1" latinLnBrk="0" hangingPunct="1">
        <a:spcBef>
          <a:spcPts val="200"/>
        </a:spcBef>
        <a:spcAft>
          <a:spcPts val="4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spcBef>
          <a:spcPts val="200"/>
        </a:spcBef>
        <a:spcAft>
          <a:spcPts val="4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fi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fi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9.gi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6.jfif"/><Relationship Id="rId9" Type="http://schemas.openxmlformats.org/officeDocument/2006/relationships/image" Target="../media/image40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9.gi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6.jfi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9.gi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6.jfi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9.gi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6.jfi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fi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fi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Relationship Id="rId6" Type="http://schemas.openxmlformats.org/officeDocument/2006/relationships/image" Target="../media/image41.jf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gif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8.jpeg"/><Relationship Id="rId12" Type="http://schemas.openxmlformats.org/officeDocument/2006/relationships/image" Target="../media/image13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1.jpeg"/><Relationship Id="rId4" Type="http://schemas.openxmlformats.org/officeDocument/2006/relationships/image" Target="../media/image6.jfif"/><Relationship Id="rId9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gif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4.jfif"/><Relationship Id="rId12" Type="http://schemas.openxmlformats.org/officeDocument/2006/relationships/image" Target="../media/image18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11" Type="http://schemas.openxmlformats.org/officeDocument/2006/relationships/image" Target="../media/image17.jpe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6.png"/><Relationship Id="rId4" Type="http://schemas.openxmlformats.org/officeDocument/2006/relationships/image" Target="../media/image6.jfif"/><Relationship Id="rId9" Type="http://schemas.openxmlformats.org/officeDocument/2006/relationships/image" Target="../media/image15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9.gif"/><Relationship Id="rId12" Type="http://schemas.openxmlformats.org/officeDocument/2006/relationships/image" Target="../media/image2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11" Type="http://schemas.openxmlformats.org/officeDocument/2006/relationships/image" Target="../media/image22.jpe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1.jpeg"/><Relationship Id="rId4" Type="http://schemas.openxmlformats.org/officeDocument/2006/relationships/image" Target="../media/image6.jfif"/><Relationship Id="rId9" Type="http://schemas.openxmlformats.org/officeDocument/2006/relationships/image" Target="../media/image20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9.gif"/><Relationship Id="rId12" Type="http://schemas.openxmlformats.org/officeDocument/2006/relationships/image" Target="../media/image2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11" Type="http://schemas.openxmlformats.org/officeDocument/2006/relationships/image" Target="../media/image27.jpe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26.jpeg"/><Relationship Id="rId4" Type="http://schemas.openxmlformats.org/officeDocument/2006/relationships/image" Target="../media/image6.jfif"/><Relationship Id="rId9" Type="http://schemas.openxmlformats.org/officeDocument/2006/relationships/image" Target="../media/image25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13" Type="http://schemas.openxmlformats.org/officeDocument/2006/relationships/image" Target="../media/image29.jpe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9.gif"/><Relationship Id="rId12" Type="http://schemas.microsoft.com/office/2007/relationships/diagramDrawing" Target="../diagrams/drawing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11" Type="http://schemas.openxmlformats.org/officeDocument/2006/relationships/diagramColors" Target="../diagrams/colors1.xml"/><Relationship Id="rId5" Type="http://schemas.openxmlformats.org/officeDocument/2006/relationships/oleObject" Target="../embeddings/oleObject8.bin"/><Relationship Id="rId10" Type="http://schemas.openxmlformats.org/officeDocument/2006/relationships/diagramQuickStyle" Target="../diagrams/quickStyle1.xml"/><Relationship Id="rId4" Type="http://schemas.openxmlformats.org/officeDocument/2006/relationships/image" Target="../media/image6.jfif"/><Relationship Id="rId9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esg-analyser.azurewebsites.net/" TargetMode="External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9.gi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6.jfif"/><Relationship Id="rId9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gif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1.jfif"/><Relationship Id="rId12" Type="http://schemas.openxmlformats.org/officeDocument/2006/relationships/image" Target="../media/image33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11" Type="http://schemas.openxmlformats.org/officeDocument/2006/relationships/image" Target="../media/image32.jpe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27.jpeg"/><Relationship Id="rId4" Type="http://schemas.openxmlformats.org/officeDocument/2006/relationships/image" Target="../media/image6.jfif"/><Relationship Id="rId9" Type="http://schemas.openxmlformats.org/officeDocument/2006/relationships/image" Target="../media/image26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9.gif"/><Relationship Id="rId12" Type="http://schemas.openxmlformats.org/officeDocument/2006/relationships/image" Target="../media/image3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11" Type="http://schemas.openxmlformats.org/officeDocument/2006/relationships/image" Target="../media/image37.jpeg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36.jpeg"/><Relationship Id="rId4" Type="http://schemas.openxmlformats.org/officeDocument/2006/relationships/image" Target="../media/image6.jfif"/><Relationship Id="rId9" Type="http://schemas.openxmlformats.org/officeDocument/2006/relationships/image" Target="../media/image3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7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0BB4A33-BACE-EBEF-EAC1-64456A64B7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905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BB4A33-BACE-EBEF-EAC1-64456A64B7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C3B0A228-9EA3-4009-A82E-9402BBC726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2E0C409-730D-455F-AA8F-0646ABDB1B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88973" y="0"/>
            <a:ext cx="8239927" cy="6858000"/>
          </a:xfrm>
          <a:custGeom>
            <a:avLst/>
            <a:gdLst>
              <a:gd name="connsiteX0" fmla="*/ 6010593 w 8239927"/>
              <a:gd name="connsiteY0" fmla="*/ 0 h 6858000"/>
              <a:gd name="connsiteX1" fmla="*/ 8239927 w 8239927"/>
              <a:gd name="connsiteY1" fmla="*/ 0 h 6858000"/>
              <a:gd name="connsiteX2" fmla="*/ 2229335 w 8239927"/>
              <a:gd name="connsiteY2" fmla="*/ 6858000 h 6858000"/>
              <a:gd name="connsiteX3" fmla="*/ 0 w 823992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39927" h="6858000">
                <a:moveTo>
                  <a:pt x="6010593" y="0"/>
                </a:moveTo>
                <a:lnTo>
                  <a:pt x="8239927" y="0"/>
                </a:lnTo>
                <a:lnTo>
                  <a:pt x="222933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873792-90D4-9211-2053-6B5E449197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293923" y="1181101"/>
            <a:ext cx="7262037" cy="3179618"/>
          </a:xfrm>
        </p:spPr>
        <p:txBody>
          <a:bodyPr vert="horz">
            <a:normAutofit/>
          </a:bodyPr>
          <a:lstStyle/>
          <a:p>
            <a:pPr algn="ctr"/>
            <a:r>
              <a:rPr lang="en-US" b="1" spc="600" dirty="0">
                <a:latin typeface="Snap ITC" panose="020F0502020204030204" pitchFamily="82" charset="0"/>
                <a:cs typeface="72 Monospace" panose="020B0509030603020204" pitchFamily="49" charset="0"/>
              </a:rPr>
              <a:t>ESG meets</a:t>
            </a:r>
            <a:br>
              <a:rPr lang="en-US" b="1" spc="600" dirty="0">
                <a:latin typeface="Snap ITC" panose="020F0502020204030204" pitchFamily="82" charset="0"/>
                <a:cs typeface="72 Monospace" panose="020B0509030603020204" pitchFamily="49" charset="0"/>
              </a:rPr>
            </a:br>
            <a:r>
              <a:rPr lang="en-US" b="1" spc="600" dirty="0">
                <a:latin typeface="Snap ITC" panose="020F0502020204030204" pitchFamily="82" charset="0"/>
                <a:cs typeface="72 Monospace" panose="020B0509030603020204" pitchFamily="49" charset="0"/>
              </a:rPr>
              <a:t>AI</a:t>
            </a:r>
            <a:br>
              <a:rPr lang="en-US" b="1" spc="600" dirty="0">
                <a:latin typeface="Snap ITC" panose="020F0502020204030204" pitchFamily="82" charset="0"/>
                <a:cs typeface="72 Monospace" panose="020B0509030603020204" pitchFamily="49" charset="0"/>
              </a:rPr>
            </a:br>
            <a:r>
              <a:rPr lang="en-GB" sz="2000" b="1" dirty="0">
                <a:latin typeface="+mn-lt"/>
                <a:ea typeface="+mn-ea"/>
                <a:cs typeface="+mn-cs"/>
              </a:rPr>
              <a:t>Revolutionizing Sustainability Reporting for </a:t>
            </a:r>
            <a:r>
              <a:rPr lang="en-GB" sz="2000" b="1" dirty="0" err="1">
                <a:latin typeface="+mn-lt"/>
                <a:ea typeface="+mn-ea"/>
                <a:cs typeface="+mn-cs"/>
              </a:rPr>
              <a:t>KfW</a:t>
            </a:r>
            <a:r>
              <a:rPr lang="en-GB" sz="2000" b="1" dirty="0">
                <a:latin typeface="+mn-lt"/>
                <a:ea typeface="+mn-ea"/>
                <a:cs typeface="+mn-cs"/>
              </a:rPr>
              <a:t> Group</a:t>
            </a:r>
            <a:endParaRPr lang="en-US" sz="2000" b="1" dirty="0">
              <a:latin typeface="+mn-lt"/>
              <a:ea typeface="+mn-ea"/>
              <a:cs typeface="+mn-cs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472DCA3-803B-F922-7345-67223DEF7F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3284" y="4360719"/>
            <a:ext cx="4065687" cy="1465118"/>
          </a:xfrm>
        </p:spPr>
        <p:txBody>
          <a:bodyPr anchor="b">
            <a:normAutofit/>
          </a:bodyPr>
          <a:lstStyle/>
          <a:p>
            <a:r>
              <a:rPr lang="en-US" dirty="0" err="1"/>
              <a:t>KfW@HerHackathon</a:t>
            </a:r>
            <a:r>
              <a:rPr lang="en-US" dirty="0"/>
              <a:t> </a:t>
            </a:r>
          </a:p>
          <a:p>
            <a:r>
              <a:rPr lang="en-US" b="1" dirty="0"/>
              <a:t>Team 4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AC546A6-DA35-F826-A4B5-F4C173048D8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63" r="21363"/>
          <a:stretch/>
        </p:blipFill>
        <p:spPr>
          <a:xfrm>
            <a:off x="5318308" y="10"/>
            <a:ext cx="6873692" cy="6857990"/>
          </a:xfrm>
          <a:custGeom>
            <a:avLst/>
            <a:gdLst/>
            <a:ahLst/>
            <a:cxnLst/>
            <a:rect l="l" t="t" r="r" b="b"/>
            <a:pathLst>
              <a:path w="6873692" h="6858000">
                <a:moveTo>
                  <a:pt x="6010592" y="0"/>
                </a:moveTo>
                <a:lnTo>
                  <a:pt x="6873692" y="0"/>
                </a:lnTo>
                <a:lnTo>
                  <a:pt x="6873692" y="6858000"/>
                </a:lnTo>
                <a:lnTo>
                  <a:pt x="0" y="6858000"/>
                </a:lnTo>
                <a:lnTo>
                  <a:pt x="6010589" y="4"/>
                </a:lnTo>
                <a:cubicBezTo>
                  <a:pt x="6010589" y="3"/>
                  <a:pt x="6010590" y="3"/>
                  <a:pt x="6010590" y="2"/>
                </a:cubicBezTo>
                <a:close/>
              </a:path>
            </a:pathLst>
          </a:custGeom>
        </p:spPr>
      </p:pic>
      <p:sp>
        <p:nvSpPr>
          <p:cNvPr id="43" name="Subtitle 2">
            <a:extLst>
              <a:ext uri="{FF2B5EF4-FFF2-40B4-BE49-F238E27FC236}">
                <a16:creationId xmlns:a16="http://schemas.microsoft.com/office/drawing/2014/main" id="{74023C7D-C9B8-EB3A-4BB1-1803C5B40DA7}"/>
              </a:ext>
            </a:extLst>
          </p:cNvPr>
          <p:cNvSpPr txBox="1">
            <a:spLocks/>
          </p:cNvSpPr>
          <p:nvPr/>
        </p:nvSpPr>
        <p:spPr>
          <a:xfrm>
            <a:off x="42544" y="6510971"/>
            <a:ext cx="3791324" cy="30682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2500" lnSpcReduction="200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Tx/>
              <a:buNone/>
              <a:defRPr sz="2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Tx/>
              <a:buNone/>
              <a:defRPr sz="16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ESG: </a:t>
            </a:r>
            <a:r>
              <a:rPr lang="en-GB" dirty="0"/>
              <a:t>Environmental, Social and Corporate Governa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6953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7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4FF6268-4B74-E1B5-D09E-35B55D6DB1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2488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FF6268-4B74-E1B5-D09E-35B55D6DB1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0B14845-EE5F-9F77-185F-74A957A357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9300" y="1322615"/>
            <a:ext cx="8697022" cy="4212771"/>
          </a:xfrm>
        </p:spPr>
        <p:txBody>
          <a:bodyPr vert="horz"/>
          <a:lstStyle/>
          <a:p>
            <a:r>
              <a:rPr lang="en-US" b="1" dirty="0"/>
              <a:t>Thank You For Your Attention And </a:t>
            </a:r>
            <a:br>
              <a:rPr lang="en-US" b="1" dirty="0"/>
            </a:br>
            <a:r>
              <a:rPr lang="en-US" b="1" dirty="0"/>
              <a:t>Let’s Shape A Sustainable Future!</a:t>
            </a:r>
          </a:p>
        </p:txBody>
      </p:sp>
    </p:spTree>
    <p:extLst>
      <p:ext uri="{BB962C8B-B14F-4D97-AF65-F5344CB8AC3E}">
        <p14:creationId xmlns:p14="http://schemas.microsoft.com/office/powerpoint/2010/main" val="25301958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7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889563F-B327-9598-E381-1F26A090A2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1763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89563F-B327-9598-E381-1F26A090A2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itle 28">
            <a:extLst>
              <a:ext uri="{FF2B5EF4-FFF2-40B4-BE49-F238E27FC236}">
                <a16:creationId xmlns:a16="http://schemas.microsoft.com/office/drawing/2014/main" id="{90BB3A4F-3F27-67FB-FEB7-6F896F53E2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2800" b="1" dirty="0"/>
              <a:t>Our Business Solution For The </a:t>
            </a:r>
            <a:r>
              <a:rPr lang="en-US" sz="2800" b="1" dirty="0" err="1"/>
              <a:t>KfW</a:t>
            </a:r>
            <a:r>
              <a:rPr lang="en-US" sz="2800" b="1" dirty="0"/>
              <a:t> Need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592B392-B047-342B-E690-56D2D36B15C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8564" y="13160"/>
            <a:ext cx="1041402" cy="47833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48BBB0D-5488-9BE0-F231-52BA196342F9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02" t="5612" r="3035" b="7209"/>
          <a:stretch/>
        </p:blipFill>
        <p:spPr>
          <a:xfrm>
            <a:off x="2247441" y="1922267"/>
            <a:ext cx="6720289" cy="4156623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AFE503BF-C221-CB0A-F994-5454DAD8E7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1897566"/>
            <a:ext cx="9911474" cy="4206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86175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7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889563F-B327-9598-E381-1F26A090A2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9703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89563F-B327-9598-E381-1F26A090A2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itle 28">
            <a:extLst>
              <a:ext uri="{FF2B5EF4-FFF2-40B4-BE49-F238E27FC236}">
                <a16:creationId xmlns:a16="http://schemas.microsoft.com/office/drawing/2014/main" id="{90BB3A4F-3F27-67FB-FEB7-6F896F53E2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2800" b="1" dirty="0"/>
              <a:t>Overview of ESG-Relevant Characteristic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592B392-B047-342B-E690-56D2D36B15C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8564" y="13160"/>
            <a:ext cx="1041402" cy="478334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949BC5AF-1C51-EA72-09C2-104D699EB9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2771166"/>
              </p:ext>
            </p:extLst>
          </p:nvPr>
        </p:nvGraphicFramePr>
        <p:xfrm>
          <a:off x="1143000" y="1775580"/>
          <a:ext cx="10559143" cy="487709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763703">
                  <a:extLst>
                    <a:ext uri="{9D8B030D-6E8A-4147-A177-3AD203B41FA5}">
                      <a16:colId xmlns:a16="http://schemas.microsoft.com/office/drawing/2014/main" val="3998095987"/>
                    </a:ext>
                  </a:extLst>
                </a:gridCol>
                <a:gridCol w="7795440">
                  <a:extLst>
                    <a:ext uri="{9D8B030D-6E8A-4147-A177-3AD203B41FA5}">
                      <a16:colId xmlns:a16="http://schemas.microsoft.com/office/drawing/2014/main" val="2880027250"/>
                    </a:ext>
                  </a:extLst>
                </a:gridCol>
              </a:tblGrid>
              <a:tr h="3825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1600" b="1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haracteristic</a:t>
                      </a:r>
                      <a:endParaRPr lang="en-GB" sz="16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1600" b="1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escription</a:t>
                      </a:r>
                      <a:endParaRPr lang="en-GB" sz="16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460045963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Sustainability Reporting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Is there sustainability reporting in the company? If yes, state the standard used by the company.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67466390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Water Consumption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What was the water consumption in the fiscal year?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38815114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Transitional Risk Driver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Which transitional risk drivers are of particular importance to the company?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17600730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GHG Emissions Reduction Plan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To what extent does the company plan to reduce greenhouse gas emissions (Scope 1) by 2030?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81941592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Acute Physical Climate Risks</a:t>
                      </a:r>
                      <a:endParaRPr lang="en-GB" sz="16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What acute physical climate risks are most relevant to the company?</a:t>
                      </a:r>
                      <a:endParaRPr lang="en-GB" sz="16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213460441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Gender Diversity Goal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What goals does the company pursue to increase the proportion of women in leadership positions?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880476315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Women in Leadership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What is the percentage of women in leadership positions in the reporting year?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69320789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Sustainability Officer</a:t>
                      </a:r>
                      <a:endParaRPr lang="en-GB" sz="16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Is there a person responsible for sustainability in the company? If yes, are they a member of the board?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044488642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Incentives for Sustainability Goal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Is the achievement of sustainability goals part of the board's remuneration system?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40676619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Electricity Consumption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What was the electricity consumption in the reporting year in GWh and what percentage was from renewable energy sources?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4688666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38350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7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889563F-B327-9598-E381-1F26A090A2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4906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89563F-B327-9598-E381-1F26A090A2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itle 28">
            <a:extLst>
              <a:ext uri="{FF2B5EF4-FFF2-40B4-BE49-F238E27FC236}">
                <a16:creationId xmlns:a16="http://schemas.microsoft.com/office/drawing/2014/main" id="{90BB3A4F-3F27-67FB-FEB7-6F896F53E2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586493"/>
            <a:ext cx="9905999" cy="1360898"/>
          </a:xfrm>
        </p:spPr>
        <p:txBody>
          <a:bodyPr vert="horz">
            <a:normAutofit/>
          </a:bodyPr>
          <a:lstStyle/>
          <a:p>
            <a:r>
              <a:rPr lang="en-US" sz="2800" b="1" dirty="0"/>
              <a:t>Business Cas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592B392-B047-342B-E690-56D2D36B15C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8564" y="13160"/>
            <a:ext cx="1041402" cy="478334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949BC5AF-1C51-EA72-09C2-104D699EB9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0540764"/>
              </p:ext>
            </p:extLst>
          </p:nvPr>
        </p:nvGraphicFramePr>
        <p:xfrm>
          <a:off x="827315" y="1587505"/>
          <a:ext cx="11201401" cy="4973566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3875314">
                  <a:extLst>
                    <a:ext uri="{9D8B030D-6E8A-4147-A177-3AD203B41FA5}">
                      <a16:colId xmlns:a16="http://schemas.microsoft.com/office/drawing/2014/main" val="3998095987"/>
                    </a:ext>
                  </a:extLst>
                </a:gridCol>
                <a:gridCol w="2002971">
                  <a:extLst>
                    <a:ext uri="{9D8B030D-6E8A-4147-A177-3AD203B41FA5}">
                      <a16:colId xmlns:a16="http://schemas.microsoft.com/office/drawing/2014/main" val="429226792"/>
                    </a:ext>
                  </a:extLst>
                </a:gridCol>
                <a:gridCol w="5323116">
                  <a:extLst>
                    <a:ext uri="{9D8B030D-6E8A-4147-A177-3AD203B41FA5}">
                      <a16:colId xmlns:a16="http://schemas.microsoft.com/office/drawing/2014/main" val="2880027250"/>
                    </a:ext>
                  </a:extLst>
                </a:gridCol>
              </a:tblGrid>
              <a:tr h="382582"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Parameter</a:t>
                      </a:r>
                      <a:endParaRPr lang="en-GB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Value</a:t>
                      </a:r>
                      <a:endParaRPr lang="en-GB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Calculation/Notes</a:t>
                      </a:r>
                      <a:endParaRPr lang="en-GB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460045963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Manual Analysis Time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8 hours/report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Time taken to manually analyse each ESG report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67466390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Automated Analysis Time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4 hours/report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Time taken to </a:t>
                      </a:r>
                      <a:r>
                        <a:rPr lang="en-GB" sz="1600" b="0" u="none" strike="noStrike" kern="1200" dirty="0" err="1">
                          <a:solidFill>
                            <a:schemeClr val="tx1"/>
                          </a:solidFill>
                          <a:effectLst/>
                        </a:rPr>
                        <a:t>analyze</a:t>
                      </a:r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each ESG report with </a:t>
                      </a:r>
                      <a:r>
                        <a:rPr lang="en-GB" sz="1600" b="0" u="none" strike="noStrike" kern="1200" dirty="0" err="1">
                          <a:solidFill>
                            <a:schemeClr val="tx1"/>
                          </a:solidFill>
                          <a:effectLst/>
                        </a:rPr>
                        <a:t>GenAI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38815114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Reports per FTE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50 reports/year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Number of reports analysed by each FTE annually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17600730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Total FTEs</a:t>
                      </a:r>
                      <a:endParaRPr lang="en-GB" sz="16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20 FTE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Number of FTEs dedicated to ESG report analysi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81941592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Total Reports Analyzed Annually</a:t>
                      </a:r>
                      <a:endParaRPr lang="en-GB" sz="16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1000 report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20 FTEs * 50 reports/FTE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213460441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urrent Effort (Manual)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8000 hours</a:t>
                      </a:r>
                      <a:endParaRPr lang="en-GB" sz="16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1000 reports * 8 hours/report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880476315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Effort with GenAI</a:t>
                      </a:r>
                      <a:endParaRPr lang="en-GB" sz="16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4000 hour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1000 reports * 4 hours/report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69320789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Total Time Saving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4000 hour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8000 hours (manual) - 4000 hours (automated)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044488642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Standard Annual Working Hours per FTE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1600 hour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Assuming 40 hours/week * 40 weeks/year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40676619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FTEs Saved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2,5 FTE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4000 hours saved / 1600 hours per FTE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468866660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Average Cost per FTE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€ 80.00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Including salary, benefits, and overhead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275363612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Annual Labor Cost Saving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€ 200.000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2,5 FTEs * €80.000/FTE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0616241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87700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7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889563F-B327-9598-E381-1F26A090A2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0087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89563F-B327-9598-E381-1F26A090A2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itle 28">
            <a:extLst>
              <a:ext uri="{FF2B5EF4-FFF2-40B4-BE49-F238E27FC236}">
                <a16:creationId xmlns:a16="http://schemas.microsoft.com/office/drawing/2014/main" id="{90BB3A4F-3F27-67FB-FEB7-6F896F53E2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399204"/>
            <a:ext cx="9905999" cy="1360898"/>
          </a:xfrm>
        </p:spPr>
        <p:txBody>
          <a:bodyPr vert="horz">
            <a:normAutofit/>
          </a:bodyPr>
          <a:lstStyle/>
          <a:p>
            <a:r>
              <a:rPr lang="en-GB" sz="2800" b="1" dirty="0"/>
              <a:t>Enhanced Key Benefits for </a:t>
            </a:r>
            <a:r>
              <a:rPr lang="en-GB" sz="2800" b="1" dirty="0" err="1"/>
              <a:t>KfW</a:t>
            </a:r>
            <a:endParaRPr lang="en-US" sz="2800" b="1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592B392-B047-342B-E690-56D2D36B15C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8564" y="13160"/>
            <a:ext cx="1041402" cy="478334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949BC5AF-1C51-EA72-09C2-104D699EB9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3541991"/>
              </p:ext>
            </p:extLst>
          </p:nvPr>
        </p:nvGraphicFramePr>
        <p:xfrm>
          <a:off x="555172" y="1283706"/>
          <a:ext cx="11560629" cy="5280616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485483">
                  <a:extLst>
                    <a:ext uri="{9D8B030D-6E8A-4147-A177-3AD203B41FA5}">
                      <a16:colId xmlns:a16="http://schemas.microsoft.com/office/drawing/2014/main" val="3998095987"/>
                    </a:ext>
                  </a:extLst>
                </a:gridCol>
                <a:gridCol w="3649647">
                  <a:extLst>
                    <a:ext uri="{9D8B030D-6E8A-4147-A177-3AD203B41FA5}">
                      <a16:colId xmlns:a16="http://schemas.microsoft.com/office/drawing/2014/main" val="429226792"/>
                    </a:ext>
                  </a:extLst>
                </a:gridCol>
                <a:gridCol w="5425499">
                  <a:extLst>
                    <a:ext uri="{9D8B030D-6E8A-4147-A177-3AD203B41FA5}">
                      <a16:colId xmlns:a16="http://schemas.microsoft.com/office/drawing/2014/main" val="2880027250"/>
                    </a:ext>
                  </a:extLst>
                </a:gridCol>
              </a:tblGrid>
              <a:tr h="3825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1600" b="1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Benefit</a:t>
                      </a:r>
                      <a:endParaRPr lang="en-GB" sz="16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1600" b="1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Value</a:t>
                      </a:r>
                      <a:endParaRPr lang="en-GB" sz="16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1600" b="1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Explanation</a:t>
                      </a:r>
                      <a:endParaRPr lang="en-GB" sz="16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460045963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FTE Saving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2.5 Full-Time Equivalents (FTEs)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By automating the analysis of ESG report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67466390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Time Saving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4000 hours annually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Significant reduction in time spent analysing report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38815114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st Saving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€200.000 annually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Based on the average cost per FTE (€80,000)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17600730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Accuracy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Provides precise and reliable answers to complex ESG-related question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Enhanced data processing accuracy, consistent result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213460441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Compliance</a:t>
                      </a:r>
                      <a:endParaRPr lang="en-GB" sz="16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Helps organizations stay compliant with regulatory requirement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Up-to-date with ESG regulations and standard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880476315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Scalability</a:t>
                      </a:r>
                      <a:endParaRPr lang="en-GB" sz="16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Scalable solution that can handle a large volume of reports and querie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apable of processing thousands of reports without degradation in performance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69320789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Report Turnaround Time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Reduced by 50%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From 8 hours to 4 hours per report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044488642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Enhanced Decision-Making</a:t>
                      </a:r>
                      <a:endParaRPr lang="en-GB" sz="16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Improved strategic decision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Informed by accurate and timely ESG insight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40676619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Stakeholder Engagement</a:t>
                      </a:r>
                      <a:endParaRPr lang="en-GB" sz="16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Increased transparency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lear and comprehensive ESG reporting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468866660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Employee Productivity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20% increase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By reducing manual workload, employees can focus on higher-value task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275363612"/>
                  </a:ext>
                </a:extLst>
              </a:tr>
              <a:tr h="38258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Operational Efficiency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30% improvement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Streamlined processes and reduced bottleneck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0616241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16071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7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4FF6268-4B74-E1B5-D09E-35B55D6DB1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0153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FF6268-4B74-E1B5-D09E-35B55D6DB1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484CD7F7-04F0-0886-F599-64FA348C00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5739757"/>
              </p:ext>
            </p:extLst>
          </p:nvPr>
        </p:nvGraphicFramePr>
        <p:xfrm>
          <a:off x="1685260" y="1562927"/>
          <a:ext cx="8501743" cy="2669824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4223657">
                  <a:extLst>
                    <a:ext uri="{9D8B030D-6E8A-4147-A177-3AD203B41FA5}">
                      <a16:colId xmlns:a16="http://schemas.microsoft.com/office/drawing/2014/main" val="3998095987"/>
                    </a:ext>
                  </a:extLst>
                </a:gridCol>
                <a:gridCol w="4278086">
                  <a:extLst>
                    <a:ext uri="{9D8B030D-6E8A-4147-A177-3AD203B41FA5}">
                      <a16:colId xmlns:a16="http://schemas.microsoft.com/office/drawing/2014/main" val="2880027250"/>
                    </a:ext>
                  </a:extLst>
                </a:gridCol>
              </a:tblGrid>
              <a:tr h="66745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2800" b="1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riteria</a:t>
                      </a:r>
                      <a:endParaRPr lang="en-GB" sz="2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2800" b="1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Value</a:t>
                      </a:r>
                      <a:endParaRPr lang="en-GB" sz="2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460045963"/>
                  </a:ext>
                </a:extLst>
              </a:tr>
              <a:tr h="667456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2800" b="0" u="none" strike="noStrike" kern="1200" dirty="0" err="1">
                          <a:solidFill>
                            <a:schemeClr val="tx1"/>
                          </a:solidFill>
                          <a:effectLst/>
                        </a:rPr>
                        <a:t>context_precision</a:t>
                      </a:r>
                      <a:endParaRPr lang="en-GB" sz="2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2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20914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38815114"/>
                  </a:ext>
                </a:extLst>
              </a:tr>
              <a:tr h="667456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28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faithfulness</a:t>
                      </a:r>
                      <a:endParaRPr lang="en-GB" sz="2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2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57119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17600730"/>
                  </a:ext>
                </a:extLst>
              </a:tr>
              <a:tr h="667456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2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swer similarity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2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92362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213460441"/>
                  </a:ext>
                </a:extLst>
              </a:tr>
            </a:tbl>
          </a:graphicData>
        </a:graphic>
      </p:graphicFrame>
      <p:sp>
        <p:nvSpPr>
          <p:cNvPr id="8" name="Title 28">
            <a:extLst>
              <a:ext uri="{FF2B5EF4-FFF2-40B4-BE49-F238E27FC236}">
                <a16:creationId xmlns:a16="http://schemas.microsoft.com/office/drawing/2014/main" id="{13B29199-4892-9D19-38B8-8D02FA20FAE0}"/>
              </a:ext>
            </a:extLst>
          </p:cNvPr>
          <p:cNvSpPr txBox="1">
            <a:spLocks/>
          </p:cNvSpPr>
          <p:nvPr/>
        </p:nvSpPr>
        <p:spPr>
          <a:xfrm>
            <a:off x="1143000" y="399204"/>
            <a:ext cx="9905999" cy="13608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b="1" dirty="0"/>
              <a:t>Evaluation criteria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14143990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7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4FF6268-4B74-E1B5-D09E-35B55D6DB1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FF6268-4B74-E1B5-D09E-35B55D6DB1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28">
            <a:extLst>
              <a:ext uri="{FF2B5EF4-FFF2-40B4-BE49-F238E27FC236}">
                <a16:creationId xmlns:a16="http://schemas.microsoft.com/office/drawing/2014/main" id="{13B29199-4892-9D19-38B8-8D02FA20FAE0}"/>
              </a:ext>
            </a:extLst>
          </p:cNvPr>
          <p:cNvSpPr txBox="1">
            <a:spLocks/>
          </p:cNvSpPr>
          <p:nvPr/>
        </p:nvSpPr>
        <p:spPr>
          <a:xfrm>
            <a:off x="1143000" y="399204"/>
            <a:ext cx="9905999" cy="13608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b="1" dirty="0"/>
              <a:t>Evaluation criteria</a:t>
            </a:r>
            <a:endParaRPr lang="en-US" sz="2800" b="1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9D59A90-602D-9F10-0C4F-8D81B17078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3674" y="1855382"/>
            <a:ext cx="9684650" cy="421580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EBA8BEF-C17F-FF2E-81B4-F37E09DD8E76}"/>
              </a:ext>
            </a:extLst>
          </p:cNvPr>
          <p:cNvSpPr/>
          <p:nvPr/>
        </p:nvSpPr>
        <p:spPr>
          <a:xfrm>
            <a:off x="3072809" y="1967023"/>
            <a:ext cx="5932968" cy="4029327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25358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7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889563F-B327-9598-E381-1F26A090A2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371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89563F-B327-9598-E381-1F26A090A2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itle 28">
            <a:extLst>
              <a:ext uri="{FF2B5EF4-FFF2-40B4-BE49-F238E27FC236}">
                <a16:creationId xmlns:a16="http://schemas.microsoft.com/office/drawing/2014/main" id="{90BB3A4F-3F27-67FB-FEB7-6F896F53E2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2800" b="1" dirty="0" err="1"/>
              <a:t>HerHackathon</a:t>
            </a:r>
            <a:r>
              <a:rPr lang="en-US" sz="2800" b="1" dirty="0"/>
              <a:t> Team4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C9408F1-3269-0A0D-8B8F-C3930847456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358" y="4042851"/>
            <a:ext cx="1147548" cy="1588710"/>
          </a:xfrm>
          <a:prstGeom prst="rect">
            <a:avLst/>
          </a:prstGeom>
          <a:ln>
            <a:noFill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1FDCDDD-A266-F4B9-2592-744676A00B71}"/>
              </a:ext>
            </a:extLst>
          </p:cNvPr>
          <p:cNvSpPr txBox="1"/>
          <p:nvPr/>
        </p:nvSpPr>
        <p:spPr>
          <a:xfrm>
            <a:off x="2801930" y="5582455"/>
            <a:ext cx="29239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Anastasia Leutloff,</a:t>
            </a:r>
          </a:p>
          <a:p>
            <a:pPr algn="ctr"/>
            <a:r>
              <a:rPr lang="en-US" dirty="0"/>
              <a:t>Project Manag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DF40505-270A-0B22-DF9E-6E35019C4E72}"/>
              </a:ext>
            </a:extLst>
          </p:cNvPr>
          <p:cNvSpPr txBox="1"/>
          <p:nvPr/>
        </p:nvSpPr>
        <p:spPr>
          <a:xfrm>
            <a:off x="1157902" y="3414261"/>
            <a:ext cx="29239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Bochra</a:t>
            </a:r>
            <a:r>
              <a:rPr lang="en-US" dirty="0"/>
              <a:t> </a:t>
            </a:r>
            <a:r>
              <a:rPr lang="en-US" dirty="0" err="1"/>
              <a:t>Saffar</a:t>
            </a:r>
            <a:r>
              <a:rPr lang="en-US" dirty="0"/>
              <a:t>,</a:t>
            </a:r>
          </a:p>
          <a:p>
            <a:pPr algn="ctr"/>
            <a:r>
              <a:rPr lang="en-US" dirty="0"/>
              <a:t>Data Scientis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A2838C-79F9-4F93-2005-7EF5850A5BAA}"/>
              </a:ext>
            </a:extLst>
          </p:cNvPr>
          <p:cNvSpPr txBox="1"/>
          <p:nvPr/>
        </p:nvSpPr>
        <p:spPr>
          <a:xfrm>
            <a:off x="4665633" y="3414261"/>
            <a:ext cx="29239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Alena Bauer,</a:t>
            </a:r>
          </a:p>
          <a:p>
            <a:pPr algn="ctr"/>
            <a:r>
              <a:rPr lang="en-US" dirty="0"/>
              <a:t>Software Develop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3759516-DC80-DF37-E430-4BC13F18D498}"/>
              </a:ext>
            </a:extLst>
          </p:cNvPr>
          <p:cNvSpPr txBox="1"/>
          <p:nvPr/>
        </p:nvSpPr>
        <p:spPr>
          <a:xfrm>
            <a:off x="8502031" y="3414261"/>
            <a:ext cx="29239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Harshanaa</a:t>
            </a:r>
            <a:r>
              <a:rPr lang="en-US" dirty="0"/>
              <a:t> U.S.,</a:t>
            </a:r>
          </a:p>
          <a:p>
            <a:pPr algn="ctr"/>
            <a:r>
              <a:rPr lang="en-US" dirty="0"/>
              <a:t>Data Scientis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BD498DE-337A-7644-8B4B-E6AD4D08BEC7}"/>
              </a:ext>
            </a:extLst>
          </p:cNvPr>
          <p:cNvSpPr txBox="1"/>
          <p:nvPr/>
        </p:nvSpPr>
        <p:spPr>
          <a:xfrm>
            <a:off x="6657720" y="5582455"/>
            <a:ext cx="29239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Neha </a:t>
            </a:r>
            <a:r>
              <a:rPr lang="en-US" dirty="0" err="1"/>
              <a:t>Thawani</a:t>
            </a:r>
            <a:r>
              <a:rPr lang="en-US" dirty="0"/>
              <a:t>,</a:t>
            </a:r>
          </a:p>
          <a:p>
            <a:pPr algn="ctr"/>
            <a:r>
              <a:rPr lang="en-US" dirty="0"/>
              <a:t>Technical Consultant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3BD174E-2115-042E-F098-16DB9ED54A1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8564" y="13160"/>
            <a:ext cx="1041402" cy="478334"/>
          </a:xfrm>
          <a:prstGeom prst="rect">
            <a:avLst/>
          </a:prstGeom>
        </p:spPr>
      </p:pic>
      <p:pic>
        <p:nvPicPr>
          <p:cNvPr id="2050" name="Picture 2" descr="bochra saffar">
            <a:extLst>
              <a:ext uri="{FF2B5EF4-FFF2-40B4-BE49-F238E27FC236}">
                <a16:creationId xmlns:a16="http://schemas.microsoft.com/office/drawing/2014/main" id="{DDBEACFB-1D6D-C365-6DC1-8174BCA723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7954" y="1821477"/>
            <a:ext cx="1607523" cy="1607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Neha Thawani">
            <a:extLst>
              <a:ext uri="{FF2B5EF4-FFF2-40B4-BE49-F238E27FC236}">
                <a16:creationId xmlns:a16="http://schemas.microsoft.com/office/drawing/2014/main" id="{F32B37D4-83CA-C8AF-4D30-FA0146147D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4892" y="4040963"/>
            <a:ext cx="1590404" cy="1590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FE0C1373-D30C-177A-389C-631A691C26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82725" y="1821477"/>
            <a:ext cx="1071682" cy="1607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Alena Bauer – Junior Software Developer – Kleerly GmbH | LinkedIn">
            <a:extLst>
              <a:ext uri="{FF2B5EF4-FFF2-40B4-BE49-F238E27FC236}">
                <a16:creationId xmlns:a16="http://schemas.microsoft.com/office/drawing/2014/main" id="{5BF4851F-2336-7325-1CF5-5CE6794D14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5685" y="1821477"/>
            <a:ext cx="1607523" cy="1607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19293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7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889563F-B327-9598-E381-1F26A090A2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5955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89563F-B327-9598-E381-1F26A090A2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6" name="Picture 55">
            <a:extLst>
              <a:ext uri="{FF2B5EF4-FFF2-40B4-BE49-F238E27FC236}">
                <a16:creationId xmlns:a16="http://schemas.microsoft.com/office/drawing/2014/main" id="{8803DE2B-DB4E-0314-BACE-50DA6C91BC6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9538" y="2184801"/>
            <a:ext cx="5412921" cy="309309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9" name="Title 28">
            <a:extLst>
              <a:ext uri="{FF2B5EF4-FFF2-40B4-BE49-F238E27FC236}">
                <a16:creationId xmlns:a16="http://schemas.microsoft.com/office/drawing/2014/main" id="{90BB3A4F-3F27-67FB-FEB7-6F896F53E2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en-GB" sz="2800" b="1" dirty="0"/>
              <a:t>ESG Report Is A Comprehensive Document That Highlights</a:t>
            </a:r>
            <a:endParaRPr lang="en-US" sz="2800" b="1" dirty="0"/>
          </a:p>
        </p:txBody>
      </p:sp>
      <p:sp>
        <p:nvSpPr>
          <p:cNvPr id="30" name="Content Placeholder 29">
            <a:extLst>
              <a:ext uri="{FF2B5EF4-FFF2-40B4-BE49-F238E27FC236}">
                <a16:creationId xmlns:a16="http://schemas.microsoft.com/office/drawing/2014/main" id="{8DA17B49-9E28-3B06-0F1D-81E0ACE9842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449661" y="5770933"/>
            <a:ext cx="7166452" cy="550929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GB" b="1" dirty="0"/>
              <a:t>Company's commitment to sustainable practices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F91FAFD1-6AF7-EE1B-4D21-5157F633EF9E}"/>
              </a:ext>
            </a:extLst>
          </p:cNvPr>
          <p:cNvSpPr txBox="1">
            <a:spLocks/>
          </p:cNvSpPr>
          <p:nvPr/>
        </p:nvSpPr>
        <p:spPr>
          <a:xfrm>
            <a:off x="42544" y="6510971"/>
            <a:ext cx="3791324" cy="30682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2500" lnSpcReduction="200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Tx/>
              <a:buNone/>
              <a:defRPr sz="2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Tx/>
              <a:buNone/>
              <a:defRPr sz="16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ESG: </a:t>
            </a:r>
            <a:r>
              <a:rPr lang="en-GB" dirty="0"/>
              <a:t>Environmental, Social and Corporate Governance</a:t>
            </a:r>
            <a:endParaRPr lang="en-US" dirty="0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BCB77AD9-8B34-E1E1-42A3-21F7821FDB0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8564" y="13160"/>
            <a:ext cx="1041402" cy="478334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6EBD05E4-7087-FCE6-67D6-8E41636833AB}"/>
              </a:ext>
            </a:extLst>
          </p:cNvPr>
          <p:cNvGrpSpPr/>
          <p:nvPr/>
        </p:nvGrpSpPr>
        <p:grpSpPr>
          <a:xfrm>
            <a:off x="108579" y="2220410"/>
            <a:ext cx="2075783" cy="2213624"/>
            <a:chOff x="900314" y="2233833"/>
            <a:chExt cx="2075783" cy="2213624"/>
          </a:xfrm>
        </p:grpSpPr>
        <p:pic>
          <p:nvPicPr>
            <p:cNvPr id="6146" name="Picture 2" descr="Corporate social responsibility icon | Pre-Designed Vector Graphics ...">
              <a:extLst>
                <a:ext uri="{FF2B5EF4-FFF2-40B4-BE49-F238E27FC236}">
                  <a16:creationId xmlns:a16="http://schemas.microsoft.com/office/drawing/2014/main" id="{DD19D4A6-C6C1-2F9F-512A-2058E260C8A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1462" y="2233833"/>
              <a:ext cx="1733486" cy="11520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2" name="Content Placeholder 5">
              <a:extLst>
                <a:ext uri="{FF2B5EF4-FFF2-40B4-BE49-F238E27FC236}">
                  <a16:creationId xmlns:a16="http://schemas.microsoft.com/office/drawing/2014/main" id="{09334EA6-BDDF-138C-A418-03E7F25B5F9B}"/>
                </a:ext>
              </a:extLst>
            </p:cNvPr>
            <p:cNvSpPr txBox="1">
              <a:spLocks/>
            </p:cNvSpPr>
            <p:nvPr/>
          </p:nvSpPr>
          <p:spPr>
            <a:xfrm>
              <a:off x="900314" y="3318279"/>
              <a:ext cx="2075783" cy="1129178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12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Tx/>
                <a:buNone/>
                <a:defRPr sz="1800" i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7200" indent="-22860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02920" indent="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Tx/>
                <a:buNone/>
                <a:defRPr sz="1400" i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1520" indent="-22860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en-GB" dirty="0"/>
                <a:t>Social</a:t>
              </a:r>
              <a:br>
                <a:rPr lang="en-GB" dirty="0"/>
              </a:br>
              <a:r>
                <a:rPr lang="en-GB" dirty="0"/>
                <a:t>responsibility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9565F75E-11E0-0366-D22B-67EF0C47B42A}"/>
              </a:ext>
            </a:extLst>
          </p:cNvPr>
          <p:cNvGrpSpPr/>
          <p:nvPr/>
        </p:nvGrpSpPr>
        <p:grpSpPr>
          <a:xfrm>
            <a:off x="1537995" y="4025737"/>
            <a:ext cx="2075783" cy="2240370"/>
            <a:chOff x="1021460" y="3594731"/>
            <a:chExt cx="2075783" cy="2240370"/>
          </a:xfrm>
        </p:grpSpPr>
        <p:pic>
          <p:nvPicPr>
            <p:cNvPr id="6148" name="Picture 4" descr="Opportunity, cost, decision, choice, benefit icon - Download on Iconfinder">
              <a:extLst>
                <a:ext uri="{FF2B5EF4-FFF2-40B4-BE49-F238E27FC236}">
                  <a16:creationId xmlns:a16="http://schemas.microsoft.com/office/drawing/2014/main" id="{327A4827-7760-44FC-B373-A3F56321FE3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83351" y="3594731"/>
              <a:ext cx="1152000" cy="11520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5" name="Content Placeholder 5">
              <a:extLst>
                <a:ext uri="{FF2B5EF4-FFF2-40B4-BE49-F238E27FC236}">
                  <a16:creationId xmlns:a16="http://schemas.microsoft.com/office/drawing/2014/main" id="{89D7AD93-5E77-D8B1-D961-10C4D66391BC}"/>
                </a:ext>
              </a:extLst>
            </p:cNvPr>
            <p:cNvSpPr txBox="1">
              <a:spLocks/>
            </p:cNvSpPr>
            <p:nvPr/>
          </p:nvSpPr>
          <p:spPr>
            <a:xfrm>
              <a:off x="1021460" y="4705923"/>
              <a:ext cx="2075783" cy="1129178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12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Tx/>
                <a:buNone/>
                <a:defRPr sz="1800" i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7200" indent="-22860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02920" indent="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Tx/>
                <a:buNone/>
                <a:defRPr sz="1400" i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1520" indent="-22860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en-GB" dirty="0"/>
                <a:t>Investment decisions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A8B00DB-4A4E-E393-4662-E57AD1F5E257}"/>
              </a:ext>
            </a:extLst>
          </p:cNvPr>
          <p:cNvGrpSpPr/>
          <p:nvPr/>
        </p:nvGrpSpPr>
        <p:grpSpPr>
          <a:xfrm>
            <a:off x="9822280" y="2220410"/>
            <a:ext cx="2431895" cy="2329550"/>
            <a:chOff x="9017052" y="1990905"/>
            <a:chExt cx="2431895" cy="2329550"/>
          </a:xfrm>
        </p:grpSpPr>
        <p:sp>
          <p:nvSpPr>
            <p:cNvPr id="7" name="Content Placeholder 5">
              <a:extLst>
                <a:ext uri="{FF2B5EF4-FFF2-40B4-BE49-F238E27FC236}">
                  <a16:creationId xmlns:a16="http://schemas.microsoft.com/office/drawing/2014/main" id="{E28181D5-64A8-3156-B0EE-5B7CF72E8628}"/>
                </a:ext>
              </a:extLst>
            </p:cNvPr>
            <p:cNvSpPr txBox="1">
              <a:spLocks/>
            </p:cNvSpPr>
            <p:nvPr/>
          </p:nvSpPr>
          <p:spPr>
            <a:xfrm>
              <a:off x="9017052" y="3191277"/>
              <a:ext cx="2431895" cy="1129178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12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Tx/>
                <a:buNone/>
                <a:defRPr sz="1800" i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7200" indent="-22860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02920" indent="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Tx/>
                <a:buNone/>
                <a:defRPr sz="1400" i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1520" indent="-22860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en-GB" dirty="0"/>
                <a:t>Ethical governance</a:t>
              </a:r>
            </a:p>
          </p:txBody>
        </p:sp>
        <p:pic>
          <p:nvPicPr>
            <p:cNvPr id="6152" name="Picture 8" descr="Ethical Responsibility icon. Thin line design symbol from business ...">
              <a:extLst>
                <a:ext uri="{FF2B5EF4-FFF2-40B4-BE49-F238E27FC236}">
                  <a16:creationId xmlns:a16="http://schemas.microsoft.com/office/drawing/2014/main" id="{CD14E561-82CC-964F-495C-FA7B9773843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729" t="18861" r="15601" b="31219"/>
            <a:stretch/>
          </p:blipFill>
          <p:spPr bwMode="auto">
            <a:xfrm>
              <a:off x="9481196" y="1990905"/>
              <a:ext cx="1503606" cy="11520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B3516C8-16B5-3FA4-80D3-FEC289D9DD93}"/>
              </a:ext>
            </a:extLst>
          </p:cNvPr>
          <p:cNvGrpSpPr/>
          <p:nvPr/>
        </p:nvGrpSpPr>
        <p:grpSpPr>
          <a:xfrm>
            <a:off x="8962836" y="4025737"/>
            <a:ext cx="2431895" cy="2279308"/>
            <a:chOff x="8867124" y="4372416"/>
            <a:chExt cx="2431895" cy="2279308"/>
          </a:xfrm>
        </p:grpSpPr>
        <p:pic>
          <p:nvPicPr>
            <p:cNvPr id="6154" name="Picture 10" descr="Trust Building Outline Icon. Simple Linear Element Illustration ...">
              <a:extLst>
                <a:ext uri="{FF2B5EF4-FFF2-40B4-BE49-F238E27FC236}">
                  <a16:creationId xmlns:a16="http://schemas.microsoft.com/office/drawing/2014/main" id="{FE1AA790-96B5-8294-0777-B4956B03A7C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884" t="12729" r="20747" b="32573"/>
            <a:stretch/>
          </p:blipFill>
          <p:spPr bwMode="auto">
            <a:xfrm>
              <a:off x="9481195" y="4372416"/>
              <a:ext cx="1203753" cy="11520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9" name="Content Placeholder 5">
              <a:extLst>
                <a:ext uri="{FF2B5EF4-FFF2-40B4-BE49-F238E27FC236}">
                  <a16:creationId xmlns:a16="http://schemas.microsoft.com/office/drawing/2014/main" id="{B9989ECB-2AFA-40DE-529A-E7D27AA4DA0C}"/>
                </a:ext>
              </a:extLst>
            </p:cNvPr>
            <p:cNvSpPr txBox="1">
              <a:spLocks/>
            </p:cNvSpPr>
            <p:nvPr/>
          </p:nvSpPr>
          <p:spPr>
            <a:xfrm>
              <a:off x="8867124" y="5522546"/>
              <a:ext cx="2431895" cy="1129178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12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Tx/>
                <a:buNone/>
                <a:defRPr sz="1800" i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7200" indent="-22860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02920" indent="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Tx/>
                <a:buNone/>
                <a:defRPr sz="1400" i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1520" indent="-22860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en-GB" dirty="0"/>
                <a:t>Building trus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12641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7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889563F-B327-9598-E381-1F26A090A2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260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89563F-B327-9598-E381-1F26A090A2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itle 28">
            <a:extLst>
              <a:ext uri="{FF2B5EF4-FFF2-40B4-BE49-F238E27FC236}">
                <a16:creationId xmlns:a16="http://schemas.microsoft.com/office/drawing/2014/main" id="{90BB3A4F-3F27-67FB-FEB7-6F896F53E2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en-GB" sz="2800" b="1" dirty="0"/>
              <a:t>Relevance Of ESG Reports For Companies In The </a:t>
            </a:r>
            <a:r>
              <a:rPr lang="en-GB" sz="2800" b="1" dirty="0" err="1"/>
              <a:t>KfW</a:t>
            </a:r>
            <a:r>
              <a:rPr lang="en-GB" sz="2800" b="1" dirty="0"/>
              <a:t> Rating Process</a:t>
            </a:r>
            <a:endParaRPr lang="en-US" sz="2800" b="1" dirty="0"/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F91FAFD1-6AF7-EE1B-4D21-5157F633EF9E}"/>
              </a:ext>
            </a:extLst>
          </p:cNvPr>
          <p:cNvSpPr txBox="1">
            <a:spLocks/>
          </p:cNvSpPr>
          <p:nvPr/>
        </p:nvSpPr>
        <p:spPr>
          <a:xfrm>
            <a:off x="42544" y="6510971"/>
            <a:ext cx="3791324" cy="30682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2500" lnSpcReduction="200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Tx/>
              <a:buNone/>
              <a:defRPr sz="2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Tx/>
              <a:buNone/>
              <a:defRPr sz="16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ESG: </a:t>
            </a:r>
            <a:r>
              <a:rPr lang="en-GB" dirty="0"/>
              <a:t>Environmental, Social and Corporate Governance</a:t>
            </a:r>
            <a:endParaRPr lang="en-US" dirty="0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BCB77AD9-8B34-E1E1-42A3-21F7821FDB0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8564" y="13160"/>
            <a:ext cx="1041402" cy="478334"/>
          </a:xfrm>
          <a:prstGeom prst="rect">
            <a:avLst/>
          </a:prstGeom>
        </p:spPr>
      </p:pic>
      <p:pic>
        <p:nvPicPr>
          <p:cNvPr id="9" name="Bildplatzhalter 16">
            <a:extLst>
              <a:ext uri="{FF2B5EF4-FFF2-40B4-BE49-F238E27FC236}">
                <a16:creationId xmlns:a16="http://schemas.microsoft.com/office/drawing/2014/main" id="{7CBCAA1F-7841-9063-1729-27019F789F0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" b="5"/>
          <a:stretch/>
        </p:blipFill>
        <p:spPr>
          <a:xfrm>
            <a:off x="3810000" y="2238019"/>
            <a:ext cx="4572001" cy="257149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6D9AEB5-D5F0-5710-C631-2CE33EC957A9}"/>
              </a:ext>
            </a:extLst>
          </p:cNvPr>
          <p:cNvGrpSpPr/>
          <p:nvPr/>
        </p:nvGrpSpPr>
        <p:grpSpPr>
          <a:xfrm>
            <a:off x="961467" y="2238019"/>
            <a:ext cx="2075783" cy="2517868"/>
            <a:chOff x="289059" y="2076776"/>
            <a:chExt cx="2075783" cy="2517868"/>
          </a:xfrm>
        </p:grpSpPr>
        <p:pic>
          <p:nvPicPr>
            <p:cNvPr id="5122" name="Picture 2" descr="Capital Icon at Vectorified.com | Collection of Capital Icon free for ...">
              <a:extLst>
                <a:ext uri="{FF2B5EF4-FFF2-40B4-BE49-F238E27FC236}">
                  <a16:creationId xmlns:a16="http://schemas.microsoft.com/office/drawing/2014/main" id="{8A1732B8-2F84-7162-8072-0E57E02F12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6950" y="2076776"/>
              <a:ext cx="1260000" cy="12600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10" name="Content Placeholder 5">
              <a:extLst>
                <a:ext uri="{FF2B5EF4-FFF2-40B4-BE49-F238E27FC236}">
                  <a16:creationId xmlns:a16="http://schemas.microsoft.com/office/drawing/2014/main" id="{6D885054-7938-8DB7-4980-0E4507A408F5}"/>
                </a:ext>
              </a:extLst>
            </p:cNvPr>
            <p:cNvSpPr txBox="1">
              <a:spLocks/>
            </p:cNvSpPr>
            <p:nvPr/>
          </p:nvSpPr>
          <p:spPr>
            <a:xfrm>
              <a:off x="289059" y="3465466"/>
              <a:ext cx="2075783" cy="1129178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12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Tx/>
                <a:buNone/>
                <a:defRPr sz="1800" i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7200" indent="-22860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02920" indent="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Tx/>
                <a:buNone/>
                <a:defRPr sz="1400" i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1520" indent="-22860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en-GB" dirty="0"/>
                <a:t>Access to Capital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8385339-98A2-A6C1-8313-871667AD8FE7}"/>
              </a:ext>
            </a:extLst>
          </p:cNvPr>
          <p:cNvGrpSpPr/>
          <p:nvPr/>
        </p:nvGrpSpPr>
        <p:grpSpPr>
          <a:xfrm>
            <a:off x="1682332" y="4385436"/>
            <a:ext cx="2631778" cy="2216840"/>
            <a:chOff x="1326950" y="4530306"/>
            <a:chExt cx="2631778" cy="2216840"/>
          </a:xfrm>
        </p:grpSpPr>
        <p:pic>
          <p:nvPicPr>
            <p:cNvPr id="5124" name="Picture 4" descr="Risk Management Icon, Vector Illustration Stock Vector - Illustration ...">
              <a:extLst>
                <a:ext uri="{FF2B5EF4-FFF2-40B4-BE49-F238E27FC236}">
                  <a16:creationId xmlns:a16="http://schemas.microsoft.com/office/drawing/2014/main" id="{C28EBB41-DFA2-71C3-FA5F-B144D718D14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2729"/>
            <a:stretch/>
          </p:blipFill>
          <p:spPr bwMode="auto">
            <a:xfrm>
              <a:off x="2017968" y="4530306"/>
              <a:ext cx="1249743" cy="11520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11" name="Content Placeholder 5">
              <a:extLst>
                <a:ext uri="{FF2B5EF4-FFF2-40B4-BE49-F238E27FC236}">
                  <a16:creationId xmlns:a16="http://schemas.microsoft.com/office/drawing/2014/main" id="{B1AE818B-DF6F-D1EF-0F61-2E0CCCCDF870}"/>
                </a:ext>
              </a:extLst>
            </p:cNvPr>
            <p:cNvSpPr txBox="1">
              <a:spLocks/>
            </p:cNvSpPr>
            <p:nvPr/>
          </p:nvSpPr>
          <p:spPr>
            <a:xfrm>
              <a:off x="1326950" y="5818653"/>
              <a:ext cx="2631778" cy="928493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12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Tx/>
                <a:buNone/>
                <a:defRPr sz="1800" i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7200" indent="-22860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02920" indent="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Tx/>
                <a:buNone/>
                <a:defRPr sz="1400" i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1520" indent="-22860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en-GB" dirty="0"/>
                <a:t>Risk Management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BFCB361-7AC3-D0B6-C419-6D76C2A8AE51}"/>
              </a:ext>
            </a:extLst>
          </p:cNvPr>
          <p:cNvGrpSpPr/>
          <p:nvPr/>
        </p:nvGrpSpPr>
        <p:grpSpPr>
          <a:xfrm>
            <a:off x="8185374" y="4385436"/>
            <a:ext cx="2075783" cy="2472564"/>
            <a:chOff x="8767010" y="4138749"/>
            <a:chExt cx="2075783" cy="2472564"/>
          </a:xfrm>
        </p:grpSpPr>
        <p:sp>
          <p:nvSpPr>
            <p:cNvPr id="12" name="Content Placeholder 5">
              <a:extLst>
                <a:ext uri="{FF2B5EF4-FFF2-40B4-BE49-F238E27FC236}">
                  <a16:creationId xmlns:a16="http://schemas.microsoft.com/office/drawing/2014/main" id="{50B57536-5E2B-DE8C-3B3D-C9ED8296DBA2}"/>
                </a:ext>
              </a:extLst>
            </p:cNvPr>
            <p:cNvSpPr txBox="1">
              <a:spLocks/>
            </p:cNvSpPr>
            <p:nvPr/>
          </p:nvSpPr>
          <p:spPr>
            <a:xfrm>
              <a:off x="8767010" y="5482135"/>
              <a:ext cx="2075783" cy="1129178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12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Tx/>
                <a:buNone/>
                <a:defRPr sz="1800" i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7200" indent="-22860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02920" indent="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Tx/>
                <a:buNone/>
                <a:defRPr sz="1400" i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1520" indent="-22860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en-GB" dirty="0"/>
                <a:t>Cost of Capital</a:t>
              </a:r>
            </a:p>
          </p:txBody>
        </p:sp>
        <p:pic>
          <p:nvPicPr>
            <p:cNvPr id="5126" name="Picture 6" descr="Cost capital icon black sign Royalty Free Vector Image">
              <a:extLst>
                <a:ext uri="{FF2B5EF4-FFF2-40B4-BE49-F238E27FC236}">
                  <a16:creationId xmlns:a16="http://schemas.microsoft.com/office/drawing/2014/main" id="{0F227D53-781E-0EE8-E700-C3313ADCB0B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2729"/>
            <a:stretch/>
          </p:blipFill>
          <p:spPr bwMode="auto">
            <a:xfrm>
              <a:off x="9193780" y="4138749"/>
              <a:ext cx="1222242" cy="11520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6ADFEE9-002E-F265-B25D-17DCBD329B3C}"/>
              </a:ext>
            </a:extLst>
          </p:cNvPr>
          <p:cNvGrpSpPr/>
          <p:nvPr/>
        </p:nvGrpSpPr>
        <p:grpSpPr>
          <a:xfrm>
            <a:off x="9154751" y="2238019"/>
            <a:ext cx="2075783" cy="2299922"/>
            <a:chOff x="9228901" y="2034291"/>
            <a:chExt cx="2075783" cy="2299922"/>
          </a:xfrm>
        </p:grpSpPr>
        <p:pic>
          <p:nvPicPr>
            <p:cNvPr id="5128" name="Picture 8" descr="Achievement, star ribbon, star award, first position, success icon ...">
              <a:extLst>
                <a:ext uri="{FF2B5EF4-FFF2-40B4-BE49-F238E27FC236}">
                  <a16:creationId xmlns:a16="http://schemas.microsoft.com/office/drawing/2014/main" id="{A9989CD4-9177-0253-49E6-2EA155555E2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90792" y="2034291"/>
              <a:ext cx="1152000" cy="11520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13" name="Content Placeholder 5">
              <a:extLst>
                <a:ext uri="{FF2B5EF4-FFF2-40B4-BE49-F238E27FC236}">
                  <a16:creationId xmlns:a16="http://schemas.microsoft.com/office/drawing/2014/main" id="{F76BEBB8-F1D8-231B-61B9-8F95BE6BFE15}"/>
                </a:ext>
              </a:extLst>
            </p:cNvPr>
            <p:cNvSpPr txBox="1">
              <a:spLocks/>
            </p:cNvSpPr>
            <p:nvPr/>
          </p:nvSpPr>
          <p:spPr>
            <a:xfrm>
              <a:off x="9228901" y="3205035"/>
              <a:ext cx="2075783" cy="1129178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12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Tx/>
                <a:buNone/>
                <a:defRPr sz="1800" i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7200" indent="-22860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02920" indent="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Tx/>
                <a:buNone/>
                <a:defRPr sz="1400" i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1520" indent="-22860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en-GB" dirty="0"/>
                <a:t>Competitive Advantag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94799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7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889563F-B327-9598-E381-1F26A090A2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7416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89563F-B327-9598-E381-1F26A090A2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itle 28">
            <a:extLst>
              <a:ext uri="{FF2B5EF4-FFF2-40B4-BE49-F238E27FC236}">
                <a16:creationId xmlns:a16="http://schemas.microsoft.com/office/drawing/2014/main" id="{90BB3A4F-3F27-67FB-FEB7-6F896F53E2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en-US" sz="2800" b="1" dirty="0"/>
              <a:t>Verena’s Needs In The Current Situation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CE7F1F0F-E01A-D66E-443E-CBF6A3C74DC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8564" y="13160"/>
            <a:ext cx="1041402" cy="478334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67947B63-7245-F53E-FFDE-3BAF31EBEC32}"/>
              </a:ext>
            </a:extLst>
          </p:cNvPr>
          <p:cNvSpPr txBox="1">
            <a:spLocks/>
          </p:cNvSpPr>
          <p:nvPr/>
        </p:nvSpPr>
        <p:spPr>
          <a:xfrm>
            <a:off x="42544" y="6510971"/>
            <a:ext cx="3791324" cy="30682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2500" lnSpcReduction="200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Tx/>
              <a:buNone/>
              <a:defRPr sz="2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Tx/>
              <a:buNone/>
              <a:defRPr sz="16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ESG: </a:t>
            </a:r>
            <a:r>
              <a:rPr lang="en-GB" dirty="0"/>
              <a:t>Environmental, Social and Corporate Governance</a:t>
            </a:r>
            <a:endParaRPr lang="en-US" dirty="0"/>
          </a:p>
        </p:txBody>
      </p:sp>
      <p:pic>
        <p:nvPicPr>
          <p:cNvPr id="5" name="Grafik 7">
            <a:extLst>
              <a:ext uri="{FF2B5EF4-FFF2-40B4-BE49-F238E27FC236}">
                <a16:creationId xmlns:a16="http://schemas.microsoft.com/office/drawing/2014/main" id="{4305BF4A-7C3E-5B58-4961-2438C670B11F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3868" y="2075136"/>
            <a:ext cx="4799013" cy="153718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54" name="Picture 6" descr="Corporate Transparency Transparency Icon, HD Png Download - kindpng">
            <a:extLst>
              <a:ext uri="{FF2B5EF4-FFF2-40B4-BE49-F238E27FC236}">
                <a16:creationId xmlns:a16="http://schemas.microsoft.com/office/drawing/2014/main" id="{C67F88D9-1A08-F010-35EA-5F1205325D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6655" y="4545065"/>
            <a:ext cx="1440000" cy="144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56" name="Picture 8" descr="Efficiency vector Solid Icon Design illustration. Time Management ...">
            <a:extLst>
              <a:ext uri="{FF2B5EF4-FFF2-40B4-BE49-F238E27FC236}">
                <a16:creationId xmlns:a16="http://schemas.microsoft.com/office/drawing/2014/main" id="{F3C28E4E-DF74-6159-C2B1-EDD0D6AF91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20" t="5623" r="13009" b="22569"/>
          <a:stretch/>
        </p:blipFill>
        <p:spPr bwMode="auto">
          <a:xfrm>
            <a:off x="2133125" y="4545065"/>
            <a:ext cx="1477388" cy="144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58" name="Picture 10" descr="Darts icon vector. Dart illustration sign. Accuracy symbol ...">
            <a:extLst>
              <a:ext uri="{FF2B5EF4-FFF2-40B4-BE49-F238E27FC236}">
                <a16:creationId xmlns:a16="http://schemas.microsoft.com/office/drawing/2014/main" id="{F27F2423-9467-5213-B0A0-D2F98D38E3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9960" y="4545065"/>
            <a:ext cx="1440000" cy="144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64" name="Picture 16" descr="Checklist, compliance, gdpr, regulation icon">
            <a:extLst>
              <a:ext uri="{FF2B5EF4-FFF2-40B4-BE49-F238E27FC236}">
                <a16:creationId xmlns:a16="http://schemas.microsoft.com/office/drawing/2014/main" id="{576A10C4-2791-15EF-5500-9F4DD9A3C7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6570" y="4545065"/>
            <a:ext cx="1440000" cy="144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1D53E1BC-5890-BE5E-94A5-52280278B83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062079" y="3743905"/>
            <a:ext cx="1619480" cy="458482"/>
          </a:xfrm>
        </p:spPr>
        <p:txBody>
          <a:bodyPr/>
          <a:lstStyle/>
          <a:p>
            <a:pPr marL="0" indent="0" algn="ctr">
              <a:buNone/>
            </a:pPr>
            <a:r>
              <a:rPr lang="en-GB" dirty="0"/>
              <a:t>Efficiency</a:t>
            </a:r>
            <a:endParaRPr lang="en-US" dirty="0"/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DB4BAC8E-89FE-0C5F-281E-664B28A93819}"/>
              </a:ext>
            </a:extLst>
          </p:cNvPr>
          <p:cNvSpPr txBox="1">
            <a:spLocks/>
          </p:cNvSpPr>
          <p:nvPr/>
        </p:nvSpPr>
        <p:spPr>
          <a:xfrm>
            <a:off x="6660220" y="3743905"/>
            <a:ext cx="1619480" cy="4584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Tx/>
              <a:buNone/>
              <a:defRPr sz="1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292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Tx/>
              <a:buNone/>
              <a:defRPr sz="14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dirty="0"/>
              <a:t>Accuracy</a:t>
            </a:r>
            <a:endParaRPr lang="en-US" dirty="0"/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77818279-74AF-B8B6-C34B-0D3EF42BAE3E}"/>
              </a:ext>
            </a:extLst>
          </p:cNvPr>
          <p:cNvSpPr txBox="1">
            <a:spLocks/>
          </p:cNvSpPr>
          <p:nvPr/>
        </p:nvSpPr>
        <p:spPr>
          <a:xfrm>
            <a:off x="4164376" y="3743905"/>
            <a:ext cx="2324559" cy="8219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Tx/>
              <a:buNone/>
              <a:defRPr sz="1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292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Tx/>
              <a:buNone/>
              <a:defRPr sz="14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dirty="0"/>
              <a:t>Structure and transparency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F413258B-1DCD-A960-1F50-A9AEC365627E}"/>
              </a:ext>
            </a:extLst>
          </p:cNvPr>
          <p:cNvSpPr txBox="1">
            <a:spLocks/>
          </p:cNvSpPr>
          <p:nvPr/>
        </p:nvSpPr>
        <p:spPr>
          <a:xfrm>
            <a:off x="8632881" y="3720042"/>
            <a:ext cx="2027378" cy="10859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Tx/>
              <a:buNone/>
              <a:defRPr sz="1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292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Tx/>
              <a:buNone/>
              <a:defRPr sz="14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dirty="0"/>
              <a:t>Regulatory Compliance</a:t>
            </a:r>
          </a:p>
        </p:txBody>
      </p:sp>
    </p:spTree>
    <p:extLst>
      <p:ext uri="{BB962C8B-B14F-4D97-AF65-F5344CB8AC3E}">
        <p14:creationId xmlns:p14="http://schemas.microsoft.com/office/powerpoint/2010/main" val="11023078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7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889563F-B327-9598-E381-1F26A090A2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6893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89563F-B327-9598-E381-1F26A090A2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itle 28">
            <a:extLst>
              <a:ext uri="{FF2B5EF4-FFF2-40B4-BE49-F238E27FC236}">
                <a16:creationId xmlns:a16="http://schemas.microsoft.com/office/drawing/2014/main" id="{90BB3A4F-3F27-67FB-FEB7-6F896F53E2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en-US" sz="2800" b="1" dirty="0"/>
              <a:t>Introducing </a:t>
            </a:r>
            <a:r>
              <a:rPr lang="en-US" sz="2800" b="1" dirty="0" err="1"/>
              <a:t>GenAI</a:t>
            </a:r>
            <a:r>
              <a:rPr lang="en-US" sz="2800" b="1" dirty="0"/>
              <a:t> Magic For ESG Report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AE6BD5B-9539-810F-BC03-710869445AA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8564" y="13160"/>
            <a:ext cx="1041402" cy="478334"/>
          </a:xfrm>
          <a:prstGeom prst="rect">
            <a:avLst/>
          </a:prstGeom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A8DCF519-8716-718C-80A6-CFCF324D3B58}"/>
              </a:ext>
            </a:extLst>
          </p:cNvPr>
          <p:cNvSpPr txBox="1">
            <a:spLocks/>
          </p:cNvSpPr>
          <p:nvPr/>
        </p:nvSpPr>
        <p:spPr>
          <a:xfrm>
            <a:off x="42544" y="6510971"/>
            <a:ext cx="3791324" cy="30682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2500" lnSpcReduction="200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Tx/>
              <a:buNone/>
              <a:defRPr sz="2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Tx/>
              <a:buNone/>
              <a:defRPr sz="16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ESG: </a:t>
            </a:r>
            <a:r>
              <a:rPr lang="en-GB" dirty="0"/>
              <a:t>Environmental, Social and Corporate Governance</a:t>
            </a:r>
            <a:endParaRPr lang="en-US" dirty="0"/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B4966406-90EE-57B7-AEAC-B7803609BB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46824009"/>
              </p:ext>
            </p:extLst>
          </p:nvPr>
        </p:nvGraphicFramePr>
        <p:xfrm>
          <a:off x="-603898" y="1767636"/>
          <a:ext cx="9134474" cy="43964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23E9956-B419-696C-6B39-0D078A32C7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642581" y="5201785"/>
            <a:ext cx="4006684" cy="963260"/>
          </a:xfrm>
        </p:spPr>
        <p:txBody>
          <a:bodyPr/>
          <a:lstStyle/>
          <a:p>
            <a:pPr marL="0" indent="0" algn="ctr">
              <a:buNone/>
            </a:pPr>
            <a:r>
              <a:rPr lang="en-GB" dirty="0"/>
              <a:t>Evaluate results in customer-friendly user interface</a:t>
            </a:r>
          </a:p>
          <a:p>
            <a:pPr marL="0" indent="0" algn="ctr">
              <a:buNone/>
            </a:pPr>
            <a:endParaRPr lang="en-US" dirty="0"/>
          </a:p>
        </p:txBody>
      </p:sp>
      <p:pic>
        <p:nvPicPr>
          <p:cNvPr id="2050" name="Picture 2" descr="A professional image of 'Evaluate results in customer-friendly user interface' with clean lines, fonts, and muted colors for a sophisticated look">
            <a:extLst>
              <a:ext uri="{FF2B5EF4-FFF2-40B4-BE49-F238E27FC236}">
                <a16:creationId xmlns:a16="http://schemas.microsoft.com/office/drawing/2014/main" id="{3F1D0BDA-BE41-DC91-2091-7139A063C5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5923" y="1943472"/>
            <a:ext cx="3240000" cy="324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0253564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7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889563F-B327-9598-E381-1F26A090A2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1043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89563F-B327-9598-E381-1F26A090A2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itle 28">
            <a:extLst>
              <a:ext uri="{FF2B5EF4-FFF2-40B4-BE49-F238E27FC236}">
                <a16:creationId xmlns:a16="http://schemas.microsoft.com/office/drawing/2014/main" id="{90BB3A4F-3F27-67FB-FEB7-6F896F53E2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2800" b="1" dirty="0"/>
              <a:t>Our Business Solution For The </a:t>
            </a:r>
            <a:r>
              <a:rPr lang="en-US" sz="2800" b="1" dirty="0" err="1"/>
              <a:t>KfW</a:t>
            </a:r>
            <a:r>
              <a:rPr lang="en-US" sz="2800" b="1" dirty="0"/>
              <a:t> Need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592B392-B047-342B-E690-56D2D36B15C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8564" y="13160"/>
            <a:ext cx="1041402" cy="478334"/>
          </a:xfrm>
          <a:prstGeom prst="rect">
            <a:avLst/>
          </a:prstGeom>
        </p:spPr>
      </p:pic>
      <p:pic>
        <p:nvPicPr>
          <p:cNvPr id="6" name="Picture 5">
            <a:hlinkClick r:id="rId8"/>
            <a:extLst>
              <a:ext uri="{FF2B5EF4-FFF2-40B4-BE49-F238E27FC236}">
                <a16:creationId xmlns:a16="http://schemas.microsoft.com/office/drawing/2014/main" id="{F1A573B1-59D8-3222-BA02-E0405A7F9E6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9782" y="1953287"/>
            <a:ext cx="11189275" cy="4311872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A798BBE0-CD9B-A4B1-0515-05EAD877FE51}"/>
              </a:ext>
            </a:extLst>
          </p:cNvPr>
          <p:cNvSpPr txBox="1">
            <a:spLocks/>
          </p:cNvSpPr>
          <p:nvPr/>
        </p:nvSpPr>
        <p:spPr>
          <a:xfrm>
            <a:off x="42544" y="6510971"/>
            <a:ext cx="3791324" cy="30682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Tx/>
              <a:buNone/>
              <a:defRPr sz="2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Tx/>
              <a:buNone/>
              <a:defRPr sz="16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https://esg-analyser.azurewebsites.net/</a:t>
            </a:r>
          </a:p>
        </p:txBody>
      </p:sp>
    </p:spTree>
    <p:extLst>
      <p:ext uri="{BB962C8B-B14F-4D97-AF65-F5344CB8AC3E}">
        <p14:creationId xmlns:p14="http://schemas.microsoft.com/office/powerpoint/2010/main" val="16929450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7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889563F-B327-9598-E381-1F26A090A2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9748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89563F-B327-9598-E381-1F26A090A2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itle 28">
            <a:extLst>
              <a:ext uri="{FF2B5EF4-FFF2-40B4-BE49-F238E27FC236}">
                <a16:creationId xmlns:a16="http://schemas.microsoft.com/office/drawing/2014/main" id="{90BB3A4F-3F27-67FB-FEB7-6F896F53E2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2800" b="1" dirty="0"/>
              <a:t>Empowering </a:t>
            </a:r>
            <a:r>
              <a:rPr lang="en-US" sz="2800" b="1" dirty="0" err="1"/>
              <a:t>KfW's</a:t>
            </a:r>
            <a:r>
              <a:rPr lang="en-US" sz="2800" b="1" dirty="0"/>
              <a:t> Sustainability Mission</a:t>
            </a:r>
            <a:endParaRPr lang="en-US" sz="2800" dirty="0"/>
          </a:p>
        </p:txBody>
      </p:sp>
      <p:pic>
        <p:nvPicPr>
          <p:cNvPr id="20" name="Content Placeholder 19">
            <a:extLst>
              <a:ext uri="{FF2B5EF4-FFF2-40B4-BE49-F238E27FC236}">
                <a16:creationId xmlns:a16="http://schemas.microsoft.com/office/drawing/2014/main" id="{2E0BC4FA-CEFE-3930-CEB9-9D72C5D2AD76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6172" y="1798373"/>
            <a:ext cx="3599657" cy="205694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A588801-61C4-4372-ABA9-2943630FDF1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8564" y="13160"/>
            <a:ext cx="1041402" cy="478334"/>
          </a:xfrm>
          <a:prstGeom prst="rect">
            <a:avLst/>
          </a:prstGeom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AB2E1C36-578A-1083-AB5E-EC4D3CB221DC}"/>
              </a:ext>
            </a:extLst>
          </p:cNvPr>
          <p:cNvSpPr txBox="1">
            <a:spLocks/>
          </p:cNvSpPr>
          <p:nvPr/>
        </p:nvSpPr>
        <p:spPr>
          <a:xfrm>
            <a:off x="42544" y="6510971"/>
            <a:ext cx="3791324" cy="30682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2500" lnSpcReduction="200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Tx/>
              <a:buNone/>
              <a:defRPr sz="2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Tx/>
              <a:buNone/>
              <a:defRPr sz="16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ESG: </a:t>
            </a:r>
            <a:r>
              <a:rPr lang="en-GB" dirty="0"/>
              <a:t>Environmental, Social and Corporate Governance</a:t>
            </a:r>
            <a:endParaRPr lang="en-US" dirty="0"/>
          </a:p>
        </p:txBody>
      </p:sp>
      <p:pic>
        <p:nvPicPr>
          <p:cNvPr id="9" name="Picture 8" descr="Efficiency vector Solid Icon Design illustration. Time Management ...">
            <a:extLst>
              <a:ext uri="{FF2B5EF4-FFF2-40B4-BE49-F238E27FC236}">
                <a16:creationId xmlns:a16="http://schemas.microsoft.com/office/drawing/2014/main" id="{9F37D267-FAF3-5682-6522-1508FED077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20" t="5623" r="13009" b="22569"/>
          <a:stretch/>
        </p:blipFill>
        <p:spPr bwMode="auto">
          <a:xfrm>
            <a:off x="1486889" y="4837079"/>
            <a:ext cx="1292713" cy="126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32585F9-554F-94D0-2E22-072F160AB0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0542" y="4118537"/>
            <a:ext cx="2085406" cy="1259999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GB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abor Cost Savings</a:t>
            </a:r>
            <a:br>
              <a:rPr lang="en-GB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GB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0k€</a:t>
            </a:r>
            <a:endParaRPr lang="en-US" sz="1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6032278-FFD8-F6B7-D61B-7416796A8726}"/>
              </a:ext>
            </a:extLst>
          </p:cNvPr>
          <p:cNvGrpSpPr/>
          <p:nvPr/>
        </p:nvGrpSpPr>
        <p:grpSpPr>
          <a:xfrm>
            <a:off x="8250273" y="4122055"/>
            <a:ext cx="2618488" cy="1975024"/>
            <a:chOff x="5287727" y="4108816"/>
            <a:chExt cx="2618488" cy="1975024"/>
          </a:xfrm>
        </p:grpSpPr>
        <p:pic>
          <p:nvPicPr>
            <p:cNvPr id="10" name="Picture 10" descr="Darts icon vector. Dart illustration sign. Accuracy symbol ...">
              <a:extLst>
                <a:ext uri="{FF2B5EF4-FFF2-40B4-BE49-F238E27FC236}">
                  <a16:creationId xmlns:a16="http://schemas.microsoft.com/office/drawing/2014/main" id="{AE5A106C-C7F3-C602-3CF6-7F1AA325E2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6971" y="4823840"/>
              <a:ext cx="1260000" cy="12600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14" name="Content Placeholder 5">
              <a:extLst>
                <a:ext uri="{FF2B5EF4-FFF2-40B4-BE49-F238E27FC236}">
                  <a16:creationId xmlns:a16="http://schemas.microsoft.com/office/drawing/2014/main" id="{206B0517-35E9-07CD-FC9F-62AB882DC52F}"/>
                </a:ext>
              </a:extLst>
            </p:cNvPr>
            <p:cNvSpPr txBox="1">
              <a:spLocks/>
            </p:cNvSpPr>
            <p:nvPr/>
          </p:nvSpPr>
          <p:spPr>
            <a:xfrm>
              <a:off x="5287727" y="4108816"/>
              <a:ext cx="2618488" cy="1117982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12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Tx/>
                <a:buNone/>
                <a:defRPr sz="1800" i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7200" indent="-22860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02920" indent="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Tx/>
                <a:buNone/>
                <a:defRPr sz="1400" i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1520" indent="-22860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GB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Employee Productivity</a:t>
              </a:r>
              <a:br>
                <a:rPr lang="en-GB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</a:br>
              <a:r>
                <a:rPr lang="en-GB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20%</a:t>
              </a:r>
              <a:r>
                <a:rPr lang="en-GB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↑</a:t>
              </a:r>
              <a:endParaRPr lang="en-GB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0B96D60-FF71-C314-0017-99F37D735DCC}"/>
              </a:ext>
            </a:extLst>
          </p:cNvPr>
          <p:cNvGrpSpPr/>
          <p:nvPr/>
        </p:nvGrpSpPr>
        <p:grpSpPr>
          <a:xfrm>
            <a:off x="3368620" y="4098192"/>
            <a:ext cx="2324559" cy="1975024"/>
            <a:chOff x="3126425" y="4108816"/>
            <a:chExt cx="2324559" cy="1975024"/>
          </a:xfrm>
        </p:grpSpPr>
        <p:sp>
          <p:nvSpPr>
            <p:cNvPr id="15" name="Content Placeholder 5">
              <a:extLst>
                <a:ext uri="{FF2B5EF4-FFF2-40B4-BE49-F238E27FC236}">
                  <a16:creationId xmlns:a16="http://schemas.microsoft.com/office/drawing/2014/main" id="{D7A7EC47-A4BE-02DA-4653-881978729727}"/>
                </a:ext>
              </a:extLst>
            </p:cNvPr>
            <p:cNvSpPr txBox="1">
              <a:spLocks/>
            </p:cNvSpPr>
            <p:nvPr/>
          </p:nvSpPr>
          <p:spPr>
            <a:xfrm>
              <a:off x="3126425" y="4108816"/>
              <a:ext cx="2324559" cy="821980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12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Tx/>
                <a:buNone/>
                <a:defRPr sz="1800" i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7200" indent="-22860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02920" indent="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Tx/>
                <a:buNone/>
                <a:defRPr sz="1400" i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1520" indent="-22860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en-GB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Time Savings</a:t>
              </a:r>
              <a:br>
                <a:rPr lang="en-GB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</a:br>
              <a:r>
                <a:rPr lang="en-GB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50%</a:t>
              </a:r>
            </a:p>
          </p:txBody>
        </p:sp>
        <p:pic>
          <p:nvPicPr>
            <p:cNvPr id="4098" name="Picture 2" descr="Save Time Glyph Icon 6974730 Vector Art at Vecteezy">
              <a:extLst>
                <a:ext uri="{FF2B5EF4-FFF2-40B4-BE49-F238E27FC236}">
                  <a16:creationId xmlns:a16="http://schemas.microsoft.com/office/drawing/2014/main" id="{1B87DCED-729D-44D4-78CB-D0D4A80E959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8704" y="4823840"/>
              <a:ext cx="1260000" cy="12600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9C25562-03D2-CA2F-6FC9-16EDADA69785}"/>
              </a:ext>
            </a:extLst>
          </p:cNvPr>
          <p:cNvGrpSpPr/>
          <p:nvPr/>
        </p:nvGrpSpPr>
        <p:grpSpPr>
          <a:xfrm>
            <a:off x="5555993" y="4133336"/>
            <a:ext cx="2831466" cy="1998887"/>
            <a:chOff x="8576232" y="4084953"/>
            <a:chExt cx="2831466" cy="1998887"/>
          </a:xfrm>
        </p:grpSpPr>
        <p:sp>
          <p:nvSpPr>
            <p:cNvPr id="16" name="Content Placeholder 5">
              <a:extLst>
                <a:ext uri="{FF2B5EF4-FFF2-40B4-BE49-F238E27FC236}">
                  <a16:creationId xmlns:a16="http://schemas.microsoft.com/office/drawing/2014/main" id="{3A1AA797-A317-DE97-24C3-E76AEACBCCD5}"/>
                </a:ext>
              </a:extLst>
            </p:cNvPr>
            <p:cNvSpPr txBox="1">
              <a:spLocks/>
            </p:cNvSpPr>
            <p:nvPr/>
          </p:nvSpPr>
          <p:spPr>
            <a:xfrm>
              <a:off x="8576232" y="4084953"/>
              <a:ext cx="2831466" cy="1085971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12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Tx/>
                <a:buNone/>
                <a:defRPr sz="1800" i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7200" indent="-22860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02920" indent="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Tx/>
                <a:buNone/>
                <a:defRPr sz="1400" i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1520" indent="-228600" algn="l" defTabSz="914400" rtl="0" eaLnBrk="1" latinLnBrk="0" hangingPunct="1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en-GB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Operational Efficiency</a:t>
              </a:r>
              <a:br>
                <a:rPr lang="en-GB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</a:br>
              <a:r>
                <a:rPr lang="en-GB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30% </a:t>
              </a:r>
              <a:r>
                <a:rPr lang="en-GB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↑</a:t>
              </a:r>
              <a:endParaRPr lang="en-GB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pic>
          <p:nvPicPr>
            <p:cNvPr id="4100" name="Picture 4" descr="Efficiency icon concept. Hourglass, gear and rise arrow symbol isolated ...">
              <a:extLst>
                <a:ext uri="{FF2B5EF4-FFF2-40B4-BE49-F238E27FC236}">
                  <a16:creationId xmlns:a16="http://schemas.microsoft.com/office/drawing/2014/main" id="{13A7119C-A992-9BB0-1E21-2271AB6FB26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901" t="16061" r="24612" b="23528"/>
            <a:stretch/>
          </p:blipFill>
          <p:spPr bwMode="auto">
            <a:xfrm>
              <a:off x="9455025" y="4823840"/>
              <a:ext cx="1073880" cy="12600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</p:spTree>
    <p:extLst>
      <p:ext uri="{BB962C8B-B14F-4D97-AF65-F5344CB8AC3E}">
        <p14:creationId xmlns:p14="http://schemas.microsoft.com/office/powerpoint/2010/main" val="38562034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7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889563F-B327-9598-E381-1F26A090A2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114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89563F-B327-9598-E381-1F26A090A2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itle 28">
            <a:extLst>
              <a:ext uri="{FF2B5EF4-FFF2-40B4-BE49-F238E27FC236}">
                <a16:creationId xmlns:a16="http://schemas.microsoft.com/office/drawing/2014/main" id="{90BB3A4F-3F27-67FB-FEB7-6F896F53E2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GB" sz="2800" b="1" dirty="0"/>
              <a:t>Understanding the Risks and Biases</a:t>
            </a:r>
            <a:endParaRPr lang="en-US" sz="2800" b="1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592B392-B047-342B-E690-56D2D36B15C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8564" y="13160"/>
            <a:ext cx="1041402" cy="478334"/>
          </a:xfrm>
          <a:prstGeom prst="rect">
            <a:avLst/>
          </a:prstGeom>
        </p:spPr>
      </p:pic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E1AB2FA2-7ED9-ED7A-64C4-A38025109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3771456"/>
              </p:ext>
            </p:extLst>
          </p:nvPr>
        </p:nvGraphicFramePr>
        <p:xfrm>
          <a:off x="1248937" y="1903925"/>
          <a:ext cx="9723863" cy="4209487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3781353">
                  <a:extLst>
                    <a:ext uri="{9D8B030D-6E8A-4147-A177-3AD203B41FA5}">
                      <a16:colId xmlns:a16="http://schemas.microsoft.com/office/drawing/2014/main" val="3998095987"/>
                    </a:ext>
                  </a:extLst>
                </a:gridCol>
                <a:gridCol w="1645779">
                  <a:extLst>
                    <a:ext uri="{9D8B030D-6E8A-4147-A177-3AD203B41FA5}">
                      <a16:colId xmlns:a16="http://schemas.microsoft.com/office/drawing/2014/main" val="2880027250"/>
                    </a:ext>
                  </a:extLst>
                </a:gridCol>
                <a:gridCol w="4296731">
                  <a:extLst>
                    <a:ext uri="{9D8B030D-6E8A-4147-A177-3AD203B41FA5}">
                      <a16:colId xmlns:a16="http://schemas.microsoft.com/office/drawing/2014/main" val="2543794366"/>
                    </a:ext>
                  </a:extLst>
                </a:gridCol>
              </a:tblGrid>
              <a:tr h="56453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1600" b="1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Risk/Bias</a:t>
                      </a:r>
                      <a:endParaRPr lang="en-GB" sz="16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1600" b="1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Rating</a:t>
                      </a:r>
                      <a:endParaRPr lang="en-GB" sz="16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1600" b="1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Mitigation Strategy</a:t>
                      </a:r>
                      <a:endParaRPr lang="en-GB" sz="16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460045963"/>
                  </a:ext>
                </a:extLst>
              </a:tr>
              <a:tr h="728990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endParaRPr lang="en-GB" sz="16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Implement robust data protection protocol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67466390"/>
                  </a:ext>
                </a:extLst>
              </a:tr>
              <a:tr h="728990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endParaRPr lang="en-GB" sz="16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Ensure thorough data validation and cleaning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38815114"/>
                  </a:ext>
                </a:extLst>
              </a:tr>
              <a:tr h="728990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endParaRPr lang="en-GB" sz="16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Regularly audit and update AI model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17600730"/>
                  </a:ext>
                </a:extLst>
              </a:tr>
              <a:tr h="728990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endParaRPr lang="en-GB" sz="16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Provide clear explanations and training for users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81941592"/>
                  </a:ext>
                </a:extLst>
              </a:tr>
              <a:tr h="728990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endParaRPr lang="en-GB" sz="16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Maintain a balance between AI use and human oversight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213460441"/>
                  </a:ext>
                </a:extLst>
              </a:tr>
            </a:tbl>
          </a:graphicData>
        </a:graphic>
      </p:graphicFrame>
      <p:sp>
        <p:nvSpPr>
          <p:cNvPr id="14" name="Oval 13">
            <a:extLst>
              <a:ext uri="{FF2B5EF4-FFF2-40B4-BE49-F238E27FC236}">
                <a16:creationId xmlns:a16="http://schemas.microsoft.com/office/drawing/2014/main" id="{780B7908-E6C0-71F5-AC9E-04EDDA1A2FD4}"/>
              </a:ext>
            </a:extLst>
          </p:cNvPr>
          <p:cNvSpPr/>
          <p:nvPr/>
        </p:nvSpPr>
        <p:spPr>
          <a:xfrm>
            <a:off x="5482521" y="2528210"/>
            <a:ext cx="432000" cy="432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3F471C1C-BEFF-56AF-995B-07610970824C}"/>
              </a:ext>
            </a:extLst>
          </p:cNvPr>
          <p:cNvSpPr/>
          <p:nvPr/>
        </p:nvSpPr>
        <p:spPr>
          <a:xfrm>
            <a:off x="5482521" y="3279380"/>
            <a:ext cx="432000" cy="432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F0E4B0E-82A2-3FB4-AC93-17B6B1413F68}"/>
              </a:ext>
            </a:extLst>
          </p:cNvPr>
          <p:cNvSpPr/>
          <p:nvPr/>
        </p:nvSpPr>
        <p:spPr>
          <a:xfrm>
            <a:off x="5482521" y="4008669"/>
            <a:ext cx="432000" cy="432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5F86AAA-1905-5F1F-E71F-0106FC9533E7}"/>
              </a:ext>
            </a:extLst>
          </p:cNvPr>
          <p:cNvSpPr/>
          <p:nvPr/>
        </p:nvSpPr>
        <p:spPr>
          <a:xfrm>
            <a:off x="5482521" y="4741442"/>
            <a:ext cx="432000" cy="432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FBADBB0-6D0B-99C7-21DD-473363842D27}"/>
              </a:ext>
            </a:extLst>
          </p:cNvPr>
          <p:cNvSpPr/>
          <p:nvPr/>
        </p:nvSpPr>
        <p:spPr>
          <a:xfrm>
            <a:off x="5482521" y="5467356"/>
            <a:ext cx="432000" cy="432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CD0726A4-CF8E-C150-6BC1-1D665F9E8CD6}"/>
              </a:ext>
            </a:extLst>
          </p:cNvPr>
          <p:cNvSpPr txBox="1">
            <a:spLocks/>
          </p:cNvSpPr>
          <p:nvPr/>
        </p:nvSpPr>
        <p:spPr>
          <a:xfrm>
            <a:off x="42544" y="6510971"/>
            <a:ext cx="3791324" cy="30682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2500" lnSpcReduction="200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Tx/>
              <a:buNone/>
              <a:defRPr sz="2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Tx/>
              <a:buNone/>
              <a:defRPr sz="16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ESG: </a:t>
            </a:r>
            <a:r>
              <a:rPr lang="en-GB" dirty="0"/>
              <a:t>Environmental, Social and Corporate Governance</a:t>
            </a:r>
            <a:endParaRPr lang="en-US" dirty="0"/>
          </a:p>
        </p:txBody>
      </p:sp>
      <p:pic>
        <p:nvPicPr>
          <p:cNvPr id="3076" name="Picture 4" descr="Data, measure, operations, planning, quality icon - Download on Iconfinder">
            <a:extLst>
              <a:ext uri="{FF2B5EF4-FFF2-40B4-BE49-F238E27FC236}">
                <a16:creationId xmlns:a16="http://schemas.microsoft.com/office/drawing/2014/main" id="{8CE7D274-0FB8-D7FA-E8B3-91B73DC71E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3772" y="3227819"/>
            <a:ext cx="648000" cy="648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078" name="Picture 6" descr="Bias Stamp Stock Illustrations – 510 Bias Stamp Stock Illustrations ...">
            <a:extLst>
              <a:ext uri="{FF2B5EF4-FFF2-40B4-BE49-F238E27FC236}">
                <a16:creationId xmlns:a16="http://schemas.microsoft.com/office/drawing/2014/main" id="{EB793ED2-77C7-BB5D-4360-DD721BB4A3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5297" y="3898122"/>
            <a:ext cx="720000" cy="720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080" name="Picture 8" descr="Data, security, protection, access, privacy icon - Download on Iconfinder">
            <a:extLst>
              <a:ext uri="{FF2B5EF4-FFF2-40B4-BE49-F238E27FC236}">
                <a16:creationId xmlns:a16="http://schemas.microsoft.com/office/drawing/2014/main" id="{68AFE7E2-7319-EADA-ED00-078C4ABFF9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1297" y="2482061"/>
            <a:ext cx="648000" cy="648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082" name="Picture 10" descr="Black Line Icon for Consideration, Why and Question Stock Illustration ...">
            <a:extLst>
              <a:ext uri="{FF2B5EF4-FFF2-40B4-BE49-F238E27FC236}">
                <a16:creationId xmlns:a16="http://schemas.microsoft.com/office/drawing/2014/main" id="{E7E7CD56-4024-2327-8BA2-71F6648F870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59" t="11935" r="13406" b="15340"/>
          <a:stretch/>
        </p:blipFill>
        <p:spPr bwMode="auto">
          <a:xfrm>
            <a:off x="2076463" y="4666895"/>
            <a:ext cx="602618" cy="648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084" name="Picture 12" descr="Chain, connect, link icon - Download on Iconfinder">
            <a:extLst>
              <a:ext uri="{FF2B5EF4-FFF2-40B4-BE49-F238E27FC236}">
                <a16:creationId xmlns:a16="http://schemas.microsoft.com/office/drawing/2014/main" id="{A9697DB4-B160-E4DC-B93D-647BD64E9E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1297" y="5392809"/>
            <a:ext cx="648000" cy="648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0856561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gattaVTI">
  <a:themeElements>
    <a:clrScheme name="AnalogousFromDarkSeedLeftStep">
      <a:dk1>
        <a:srgbClr val="000000"/>
      </a:dk1>
      <a:lt1>
        <a:srgbClr val="FFFFFF"/>
      </a:lt1>
      <a:dk2>
        <a:srgbClr val="1B2130"/>
      </a:dk2>
      <a:lt2>
        <a:srgbClr val="F0F3F1"/>
      </a:lt2>
      <a:accent1>
        <a:srgbClr val="D937B0"/>
      </a:accent1>
      <a:accent2>
        <a:srgbClr val="AC25C7"/>
      </a:accent2>
      <a:accent3>
        <a:srgbClr val="7B37D9"/>
      </a:accent3>
      <a:accent4>
        <a:srgbClr val="3A3ACC"/>
      </a:accent4>
      <a:accent5>
        <a:srgbClr val="377AD9"/>
      </a:accent5>
      <a:accent6>
        <a:srgbClr val="25ACC7"/>
      </a:accent6>
      <a:hlink>
        <a:srgbClr val="3F5FBF"/>
      </a:hlink>
      <a:folHlink>
        <a:srgbClr val="7F7F7F"/>
      </a:folHlink>
    </a:clrScheme>
    <a:fontScheme name="Walbaum Display">
      <a:majorFont>
        <a:latin typeface="Walbaum Display"/>
        <a:ea typeface=""/>
        <a:cs typeface=""/>
      </a:majorFont>
      <a:minorFont>
        <a:latin typeface="Walbaum Displ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gattaVTI" id="{FFC3BCE5-6357-41D1-8E67-3F85B69D7E86}" vid="{893A6374-FE17-48E5-8B62-678C1B11AA1B}"/>
    </a:ext>
  </a:extLst>
</a:theme>
</file>

<file path=ppt/theme/theme2.xml><?xml version="1.0" encoding="utf-8"?>
<a:theme xmlns:a="http://schemas.openxmlformats.org/drawingml/2006/main" name="2_Template_MBS">
  <a:themeElements>
    <a:clrScheme name="Benutzerdefiniert 10">
      <a:dk1>
        <a:sysClr val="windowText" lastClr="000000"/>
      </a:dk1>
      <a:lt1>
        <a:sysClr val="window" lastClr="FFFFFF"/>
      </a:lt1>
      <a:dk2>
        <a:srgbClr val="97B2CB"/>
      </a:dk2>
      <a:lt2>
        <a:srgbClr val="5186AA"/>
      </a:lt2>
      <a:accent1>
        <a:srgbClr val="5F6168"/>
      </a:accent1>
      <a:accent2>
        <a:srgbClr val="9C989C"/>
      </a:accent2>
      <a:accent3>
        <a:srgbClr val="B1C800"/>
      </a:accent3>
      <a:accent4>
        <a:srgbClr val="D3DE82"/>
      </a:accent4>
      <a:accent5>
        <a:srgbClr val="F6A800"/>
      </a:accent5>
      <a:accent6>
        <a:srgbClr val="FCCB77"/>
      </a:accent6>
      <a:hlink>
        <a:srgbClr val="000000"/>
      </a:hlink>
      <a:folHlink>
        <a:srgbClr val="000000"/>
      </a:folHlink>
    </a:clrScheme>
    <a:fontScheme name="MBS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>
            <a:lumMod val="40000"/>
            <a:lumOff val="60000"/>
          </a:schemeClr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ctr">
          <a:spcBef>
            <a:spcPts val="200"/>
          </a:spcBef>
          <a:spcAft>
            <a:spcPts val="400"/>
          </a:spcAft>
          <a:buClr>
            <a:schemeClr val="bg2"/>
          </a:buClr>
          <a:buSzPct val="120000"/>
          <a:buFont typeface="Arial" panose="020B0604020202020204" pitchFamily="34" charset="0"/>
          <a:buChar char="•"/>
          <a:defRPr sz="1600" dirty="0" err="1" smtClean="0">
            <a:solidFill>
              <a:schemeClr val="tx1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>
          <a:spcBef>
            <a:spcPts val="200"/>
          </a:spcBef>
          <a:spcAft>
            <a:spcPts val="400"/>
          </a:spcAft>
          <a:buClr>
            <a:schemeClr val="bg2"/>
          </a:buClr>
          <a:buSzPct val="120000"/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87</Words>
  <Application>Microsoft Office PowerPoint</Application>
  <PresentationFormat>Widescreen</PresentationFormat>
  <Paragraphs>271</Paragraphs>
  <Slides>16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Aptos</vt:lpstr>
      <vt:lpstr>Arial</vt:lpstr>
      <vt:lpstr>Arial Narrow</vt:lpstr>
      <vt:lpstr>Snap ITC</vt:lpstr>
      <vt:lpstr>Walbaum Display</vt:lpstr>
      <vt:lpstr>Wingdings</vt:lpstr>
      <vt:lpstr>RegattaVTI</vt:lpstr>
      <vt:lpstr>2_Template_MBS</vt:lpstr>
      <vt:lpstr>think-cell Slide</vt:lpstr>
      <vt:lpstr>ESG meets AI Revolutionizing Sustainability Reporting for KfW Group</vt:lpstr>
      <vt:lpstr>HerHackathon Team4</vt:lpstr>
      <vt:lpstr>ESG Report Is A Comprehensive Document That Highlights</vt:lpstr>
      <vt:lpstr>Relevance Of ESG Reports For Companies In The KfW Rating Process</vt:lpstr>
      <vt:lpstr>Verena’s Needs In The Current Situation</vt:lpstr>
      <vt:lpstr>Introducing GenAI Magic For ESG Reporting</vt:lpstr>
      <vt:lpstr>Our Business Solution For The KfW Needs</vt:lpstr>
      <vt:lpstr>Empowering KfW's Sustainability Mission</vt:lpstr>
      <vt:lpstr>Understanding the Risks and Biases</vt:lpstr>
      <vt:lpstr>Thank You For Your Attention And  Let’s Shape A Sustainable Future!</vt:lpstr>
      <vt:lpstr>Our Business Solution For The KfW Needs</vt:lpstr>
      <vt:lpstr>Overview of ESG-Relevant Characteristics</vt:lpstr>
      <vt:lpstr>Business Case</vt:lpstr>
      <vt:lpstr>Enhanced Key Benefits for KfW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SG  meets  AI</dc:title>
  <dc:creator>Leutloff, Anastasia</dc:creator>
  <cp:lastModifiedBy>Leutloff, Anastasia</cp:lastModifiedBy>
  <cp:revision>2</cp:revision>
  <dcterms:created xsi:type="dcterms:W3CDTF">2024-06-29T07:32:55Z</dcterms:created>
  <dcterms:modified xsi:type="dcterms:W3CDTF">2024-06-30T12:41:23Z</dcterms:modified>
</cp:coreProperties>
</file>